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ink/ink1.xml" ContentType="application/inkml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1"/>
  </p:sldMasterIdLst>
  <p:notesMasterIdLst>
    <p:notesMasterId r:id="rId16"/>
  </p:notesMasterIdLst>
  <p:sldIdLst>
    <p:sldId id="256" r:id="rId2"/>
    <p:sldId id="263" r:id="rId3"/>
    <p:sldId id="4100" r:id="rId4"/>
    <p:sldId id="3345" r:id="rId5"/>
    <p:sldId id="4118" r:id="rId6"/>
    <p:sldId id="4066" r:id="rId7"/>
    <p:sldId id="4103" r:id="rId8"/>
    <p:sldId id="270" r:id="rId9"/>
    <p:sldId id="4080" r:id="rId10"/>
    <p:sldId id="4109" r:id="rId11"/>
    <p:sldId id="4111" r:id="rId12"/>
    <p:sldId id="3309" r:id="rId13"/>
    <p:sldId id="275" r:id="rId14"/>
    <p:sldId id="4095" r:id="rId15"/>
  </p:sldIdLst>
  <p:sldSz cx="12192000" cy="6858000"/>
  <p:notesSz cx="6858000" cy="9144000"/>
  <p:embeddedFontLst>
    <p:embeddedFont>
      <p:font typeface="Montserrat Medium" panose="00000600000000000000" pitchFamily="2" charset="0"/>
      <p:regular r:id="rId17"/>
      <p:italic r:id="rId18"/>
    </p:embeddedFont>
  </p:embeddedFontLst>
  <p:custDataLst>
    <p:tags r:id="rId1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D0D03E3-3226-4873-A599-0FE1608CAE58}" v="292" dt="2024-09-18T21:01:02.83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5" autoAdjust="0"/>
    <p:restoredTop sz="72619" autoAdjust="0"/>
  </p:normalViewPr>
  <p:slideViewPr>
    <p:cSldViewPr showGuides="1">
      <p:cViewPr varScale="1">
        <p:scale>
          <a:sx n="90" d="100"/>
          <a:sy n="90" d="100"/>
        </p:scale>
        <p:origin x="822" y="7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2727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2.fntdata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1.fntdata"/><Relationship Id="rId25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6/11/relationships/changesInfo" Target="changesInfos/changesInfo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fiz Muhammad Salman" userId="47f5b1ff-37b9-4dd0-a37a-3bc5aec52fa1" providerId="ADAL" clId="{1D0D03E3-3226-4873-A599-0FE1608CAE58}"/>
    <pc:docChg chg="undo redo custSel addSld delSld modSld sldOrd">
      <pc:chgData name="Hafiz Muhammad Salman" userId="47f5b1ff-37b9-4dd0-a37a-3bc5aec52fa1" providerId="ADAL" clId="{1D0D03E3-3226-4873-A599-0FE1608CAE58}" dt="2024-09-19T08:52:24.831" v="5703"/>
      <pc:docMkLst>
        <pc:docMk/>
      </pc:docMkLst>
      <pc:sldChg chg="modSp mod">
        <pc:chgData name="Hafiz Muhammad Salman" userId="47f5b1ff-37b9-4dd0-a37a-3bc5aec52fa1" providerId="ADAL" clId="{1D0D03E3-3226-4873-A599-0FE1608CAE58}" dt="2024-09-16T07:44:44.435" v="4264" actId="20577"/>
        <pc:sldMkLst>
          <pc:docMk/>
          <pc:sldMk cId="2724017078" sldId="256"/>
        </pc:sldMkLst>
        <pc:spChg chg="mod">
          <ac:chgData name="Hafiz Muhammad Salman" userId="47f5b1ff-37b9-4dd0-a37a-3bc5aec52fa1" providerId="ADAL" clId="{1D0D03E3-3226-4873-A599-0FE1608CAE58}" dt="2024-09-16T07:44:44.435" v="4264" actId="20577"/>
          <ac:spMkLst>
            <pc:docMk/>
            <pc:sldMk cId="2724017078" sldId="256"/>
            <ac:spMk id="4" creationId="{7B93CE81-6B86-4CFC-A375-BAB762430963}"/>
          </ac:spMkLst>
        </pc:spChg>
      </pc:sldChg>
      <pc:sldChg chg="del">
        <pc:chgData name="Hafiz Muhammad Salman" userId="47f5b1ff-37b9-4dd0-a37a-3bc5aec52fa1" providerId="ADAL" clId="{1D0D03E3-3226-4873-A599-0FE1608CAE58}" dt="2024-09-11T13:19:52.189" v="2571" actId="47"/>
        <pc:sldMkLst>
          <pc:docMk/>
          <pc:sldMk cId="3432444165" sldId="257"/>
        </pc:sldMkLst>
      </pc:sldChg>
      <pc:sldChg chg="del">
        <pc:chgData name="Hafiz Muhammad Salman" userId="47f5b1ff-37b9-4dd0-a37a-3bc5aec52fa1" providerId="ADAL" clId="{1D0D03E3-3226-4873-A599-0FE1608CAE58}" dt="2024-09-11T13:19:53.309" v="2572" actId="47"/>
        <pc:sldMkLst>
          <pc:docMk/>
          <pc:sldMk cId="3770229244" sldId="258"/>
        </pc:sldMkLst>
      </pc:sldChg>
      <pc:sldChg chg="del">
        <pc:chgData name="Hafiz Muhammad Salman" userId="47f5b1ff-37b9-4dd0-a37a-3bc5aec52fa1" providerId="ADAL" clId="{1D0D03E3-3226-4873-A599-0FE1608CAE58}" dt="2024-09-11T11:53:10.675" v="1683" actId="47"/>
        <pc:sldMkLst>
          <pc:docMk/>
          <pc:sldMk cId="1874663958" sldId="260"/>
        </pc:sldMkLst>
      </pc:sldChg>
      <pc:sldChg chg="del">
        <pc:chgData name="Hafiz Muhammad Salman" userId="47f5b1ff-37b9-4dd0-a37a-3bc5aec52fa1" providerId="ADAL" clId="{1D0D03E3-3226-4873-A599-0FE1608CAE58}" dt="2024-09-11T13:20:55.961" v="2586" actId="47"/>
        <pc:sldMkLst>
          <pc:docMk/>
          <pc:sldMk cId="4286820202" sldId="261"/>
        </pc:sldMkLst>
      </pc:sldChg>
      <pc:sldChg chg="del">
        <pc:chgData name="Hafiz Muhammad Salman" userId="47f5b1ff-37b9-4dd0-a37a-3bc5aec52fa1" providerId="ADAL" clId="{1D0D03E3-3226-4873-A599-0FE1608CAE58}" dt="2024-09-11T11:53:14.904" v="1684" actId="47"/>
        <pc:sldMkLst>
          <pc:docMk/>
          <pc:sldMk cId="392540440" sldId="262"/>
        </pc:sldMkLst>
      </pc:sldChg>
      <pc:sldChg chg="modSp add mod">
        <pc:chgData name="Hafiz Muhammad Salman" userId="47f5b1ff-37b9-4dd0-a37a-3bc5aec52fa1" providerId="ADAL" clId="{1D0D03E3-3226-4873-A599-0FE1608CAE58}" dt="2024-09-19T08:03:53.722" v="5639" actId="20577"/>
        <pc:sldMkLst>
          <pc:docMk/>
          <pc:sldMk cId="4160715829" sldId="263"/>
        </pc:sldMkLst>
        <pc:spChg chg="mod">
          <ac:chgData name="Hafiz Muhammad Salman" userId="47f5b1ff-37b9-4dd0-a37a-3bc5aec52fa1" providerId="ADAL" clId="{1D0D03E3-3226-4873-A599-0FE1608CAE58}" dt="2024-09-19T08:03:53.722" v="5639" actId="20577"/>
          <ac:spMkLst>
            <pc:docMk/>
            <pc:sldMk cId="4160715829" sldId="263"/>
            <ac:spMk id="3" creationId="{BB9BCF9D-33DB-4849-98AF-8126CE1E7CCF}"/>
          </ac:spMkLst>
        </pc:spChg>
      </pc:sldChg>
      <pc:sldChg chg="addSp delSp modSp add del mod">
        <pc:chgData name="Hafiz Muhammad Salman" userId="47f5b1ff-37b9-4dd0-a37a-3bc5aec52fa1" providerId="ADAL" clId="{1D0D03E3-3226-4873-A599-0FE1608CAE58}" dt="2024-09-11T07:59:00.091" v="1028" actId="2696"/>
        <pc:sldMkLst>
          <pc:docMk/>
          <pc:sldMk cId="3723228346" sldId="266"/>
        </pc:sldMkLst>
        <pc:spChg chg="del">
          <ac:chgData name="Hafiz Muhammad Salman" userId="47f5b1ff-37b9-4dd0-a37a-3bc5aec52fa1" providerId="ADAL" clId="{1D0D03E3-3226-4873-A599-0FE1608CAE58}" dt="2024-09-10T14:55:14.290" v="124" actId="478"/>
          <ac:spMkLst>
            <pc:docMk/>
            <pc:sldMk cId="3723228346" sldId="266"/>
            <ac:spMk id="36" creationId="{B335BD91-DAF4-79D1-DC03-7B9143F6BACB}"/>
          </ac:spMkLst>
        </pc:spChg>
        <pc:picChg chg="add mod">
          <ac:chgData name="Hafiz Muhammad Salman" userId="47f5b1ff-37b9-4dd0-a37a-3bc5aec52fa1" providerId="ADAL" clId="{1D0D03E3-3226-4873-A599-0FE1608CAE58}" dt="2024-09-10T15:30:53.563" v="286" actId="931"/>
          <ac:picMkLst>
            <pc:docMk/>
            <pc:sldMk cId="3723228346" sldId="266"/>
            <ac:picMk id="7" creationId="{6703658B-1749-779F-974B-43CE5F033360}"/>
          </ac:picMkLst>
        </pc:picChg>
        <pc:picChg chg="add mod">
          <ac:chgData name="Hafiz Muhammad Salman" userId="47f5b1ff-37b9-4dd0-a37a-3bc5aec52fa1" providerId="ADAL" clId="{1D0D03E3-3226-4873-A599-0FE1608CAE58}" dt="2024-09-10T15:30:53.142" v="284"/>
          <ac:picMkLst>
            <pc:docMk/>
            <pc:sldMk cId="3723228346" sldId="266"/>
            <ac:picMk id="8" creationId="{D8390EDF-F854-9936-F920-E0017E1C2EDC}"/>
          </ac:picMkLst>
        </pc:picChg>
        <pc:picChg chg="add mod">
          <ac:chgData name="Hafiz Muhammad Salman" userId="47f5b1ff-37b9-4dd0-a37a-3bc5aec52fa1" providerId="ADAL" clId="{1D0D03E3-3226-4873-A599-0FE1608CAE58}" dt="2024-09-10T15:30:52.813" v="283"/>
          <ac:picMkLst>
            <pc:docMk/>
            <pc:sldMk cId="3723228346" sldId="266"/>
            <ac:picMk id="9" creationId="{BAF157F5-F38B-4CCB-467B-263AED33E625}"/>
          </ac:picMkLst>
        </pc:picChg>
        <pc:picChg chg="add mod">
          <ac:chgData name="Hafiz Muhammad Salman" userId="47f5b1ff-37b9-4dd0-a37a-3bc5aec52fa1" providerId="ADAL" clId="{1D0D03E3-3226-4873-A599-0FE1608CAE58}" dt="2024-09-10T15:30:52.375" v="282"/>
          <ac:picMkLst>
            <pc:docMk/>
            <pc:sldMk cId="3723228346" sldId="266"/>
            <ac:picMk id="10" creationId="{594E2C9D-24FC-6998-6D10-5F6721384F63}"/>
          </ac:picMkLst>
        </pc:picChg>
        <pc:picChg chg="add del mod modCrop">
          <ac:chgData name="Hafiz Muhammad Salman" userId="47f5b1ff-37b9-4dd0-a37a-3bc5aec52fa1" providerId="ADAL" clId="{1D0D03E3-3226-4873-A599-0FE1608CAE58}" dt="2024-09-10T15:32:12.675" v="295" actId="478"/>
          <ac:picMkLst>
            <pc:docMk/>
            <pc:sldMk cId="3723228346" sldId="266"/>
            <ac:picMk id="12" creationId="{16545608-BD49-F095-261E-B8DA4D12F5CA}"/>
          </ac:picMkLst>
        </pc:picChg>
      </pc:sldChg>
      <pc:sldChg chg="addSp delSp modSp add del mod">
        <pc:chgData name="Hafiz Muhammad Salman" userId="47f5b1ff-37b9-4dd0-a37a-3bc5aec52fa1" providerId="ADAL" clId="{1D0D03E3-3226-4873-A599-0FE1608CAE58}" dt="2024-09-12T14:00:00.910" v="3962" actId="2696"/>
        <pc:sldMkLst>
          <pc:docMk/>
          <pc:sldMk cId="435964012" sldId="267"/>
        </pc:sldMkLst>
        <pc:spChg chg="mod">
          <ac:chgData name="Hafiz Muhammad Salman" userId="47f5b1ff-37b9-4dd0-a37a-3bc5aec52fa1" providerId="ADAL" clId="{1D0D03E3-3226-4873-A599-0FE1608CAE58}" dt="2024-09-11T15:07:54.332" v="2811" actId="20577"/>
          <ac:spMkLst>
            <pc:docMk/>
            <pc:sldMk cId="435964012" sldId="267"/>
            <ac:spMk id="3" creationId="{BB9BCF9D-33DB-4849-98AF-8126CE1E7CCF}"/>
          </ac:spMkLst>
        </pc:spChg>
        <pc:spChg chg="add del mod">
          <ac:chgData name="Hafiz Muhammad Salman" userId="47f5b1ff-37b9-4dd0-a37a-3bc5aec52fa1" providerId="ADAL" clId="{1D0D03E3-3226-4873-A599-0FE1608CAE58}" dt="2024-09-11T13:15:55.898" v="2474" actId="478"/>
          <ac:spMkLst>
            <pc:docMk/>
            <pc:sldMk cId="435964012" sldId="267"/>
            <ac:spMk id="6" creationId="{A5EB1767-7F9A-C151-2F17-39E3A3AD1C05}"/>
          </ac:spMkLst>
        </pc:spChg>
        <pc:picChg chg="mod">
          <ac:chgData name="Hafiz Muhammad Salman" userId="47f5b1ff-37b9-4dd0-a37a-3bc5aec52fa1" providerId="ADAL" clId="{1D0D03E3-3226-4873-A599-0FE1608CAE58}" dt="2024-09-11T13:19:43.643" v="2565" actId="1076"/>
          <ac:picMkLst>
            <pc:docMk/>
            <pc:sldMk cId="435964012" sldId="267"/>
            <ac:picMk id="1030" creationId="{7185F6B3-080D-13B9-5382-B64B2AB11800}"/>
          </ac:picMkLst>
        </pc:picChg>
      </pc:sldChg>
      <pc:sldChg chg="add del">
        <pc:chgData name="Hafiz Muhammad Salman" userId="47f5b1ff-37b9-4dd0-a37a-3bc5aec52fa1" providerId="ADAL" clId="{1D0D03E3-3226-4873-A599-0FE1608CAE58}" dt="2024-09-11T13:19:47.167" v="2566" actId="47"/>
        <pc:sldMkLst>
          <pc:docMk/>
          <pc:sldMk cId="1850068892" sldId="268"/>
        </pc:sldMkLst>
      </pc:sldChg>
      <pc:sldChg chg="del">
        <pc:chgData name="Hafiz Muhammad Salman" userId="47f5b1ff-37b9-4dd0-a37a-3bc5aec52fa1" providerId="ADAL" clId="{1D0D03E3-3226-4873-A599-0FE1608CAE58}" dt="2024-09-11T13:19:57.259" v="2573" actId="47"/>
        <pc:sldMkLst>
          <pc:docMk/>
          <pc:sldMk cId="520007463" sldId="269"/>
        </pc:sldMkLst>
      </pc:sldChg>
      <pc:sldChg chg="add">
        <pc:chgData name="Hafiz Muhammad Salman" userId="47f5b1ff-37b9-4dd0-a37a-3bc5aec52fa1" providerId="ADAL" clId="{1D0D03E3-3226-4873-A599-0FE1608CAE58}" dt="2024-09-11T11:44:06.625" v="1678"/>
        <pc:sldMkLst>
          <pc:docMk/>
          <pc:sldMk cId="3202272355" sldId="270"/>
        </pc:sldMkLst>
      </pc:sldChg>
      <pc:sldChg chg="modSp add mod">
        <pc:chgData name="Hafiz Muhammad Salman" userId="47f5b1ff-37b9-4dd0-a37a-3bc5aec52fa1" providerId="ADAL" clId="{1D0D03E3-3226-4873-A599-0FE1608CAE58}" dt="2024-09-12T10:02:42.523" v="3960" actId="20577"/>
        <pc:sldMkLst>
          <pc:docMk/>
          <pc:sldMk cId="1778853590" sldId="275"/>
        </pc:sldMkLst>
        <pc:spChg chg="mod">
          <ac:chgData name="Hafiz Muhammad Salman" userId="47f5b1ff-37b9-4dd0-a37a-3bc5aec52fa1" providerId="ADAL" clId="{1D0D03E3-3226-4873-A599-0FE1608CAE58}" dt="2024-09-12T10:02:42.523" v="3960" actId="20577"/>
          <ac:spMkLst>
            <pc:docMk/>
            <pc:sldMk cId="1778853590" sldId="275"/>
            <ac:spMk id="4" creationId="{3F86D06E-292B-487C-A466-F41284672104}"/>
          </ac:spMkLst>
        </pc:spChg>
      </pc:sldChg>
      <pc:sldChg chg="del">
        <pc:chgData name="Hafiz Muhammad Salman" userId="47f5b1ff-37b9-4dd0-a37a-3bc5aec52fa1" providerId="ADAL" clId="{1D0D03E3-3226-4873-A599-0FE1608CAE58}" dt="2024-09-11T11:53:21.819" v="1686" actId="47"/>
        <pc:sldMkLst>
          <pc:docMk/>
          <pc:sldMk cId="1773692672" sldId="276"/>
        </pc:sldMkLst>
      </pc:sldChg>
      <pc:sldChg chg="modSp del mod">
        <pc:chgData name="Hafiz Muhammad Salman" userId="47f5b1ff-37b9-4dd0-a37a-3bc5aec52fa1" providerId="ADAL" clId="{1D0D03E3-3226-4873-A599-0FE1608CAE58}" dt="2024-09-16T08:12:44.838" v="4501" actId="47"/>
        <pc:sldMkLst>
          <pc:docMk/>
          <pc:sldMk cId="187938002" sldId="3307"/>
        </pc:sldMkLst>
        <pc:spChg chg="mod">
          <ac:chgData name="Hafiz Muhammad Salman" userId="47f5b1ff-37b9-4dd0-a37a-3bc5aec52fa1" providerId="ADAL" clId="{1D0D03E3-3226-4873-A599-0FE1608CAE58}" dt="2024-09-16T08:10:14.399" v="4395" actId="790"/>
          <ac:spMkLst>
            <pc:docMk/>
            <pc:sldMk cId="187938002" sldId="3307"/>
            <ac:spMk id="12" creationId="{8BAE46F2-1075-4B44-AC66-234419715D7A}"/>
          </ac:spMkLst>
        </pc:spChg>
        <pc:spChg chg="mod">
          <ac:chgData name="Hafiz Muhammad Salman" userId="47f5b1ff-37b9-4dd0-a37a-3bc5aec52fa1" providerId="ADAL" clId="{1D0D03E3-3226-4873-A599-0FE1608CAE58}" dt="2024-09-16T08:10:14.400" v="4396" actId="790"/>
          <ac:spMkLst>
            <pc:docMk/>
            <pc:sldMk cId="187938002" sldId="3307"/>
            <ac:spMk id="13" creationId="{77D46AAF-9204-0D47-8029-7C19F932B25F}"/>
          </ac:spMkLst>
        </pc:spChg>
        <pc:spChg chg="mod">
          <ac:chgData name="Hafiz Muhammad Salman" userId="47f5b1ff-37b9-4dd0-a37a-3bc5aec52fa1" providerId="ADAL" clId="{1D0D03E3-3226-4873-A599-0FE1608CAE58}" dt="2024-09-16T08:10:14.401" v="4397" actId="790"/>
          <ac:spMkLst>
            <pc:docMk/>
            <pc:sldMk cId="187938002" sldId="3307"/>
            <ac:spMk id="14" creationId="{AD9E48D4-DA00-8F41-919F-DFF5323DFFF6}"/>
          </ac:spMkLst>
        </pc:spChg>
        <pc:spChg chg="mod">
          <ac:chgData name="Hafiz Muhammad Salman" userId="47f5b1ff-37b9-4dd0-a37a-3bc5aec52fa1" providerId="ADAL" clId="{1D0D03E3-3226-4873-A599-0FE1608CAE58}" dt="2024-09-16T08:10:14.402" v="4398" actId="790"/>
          <ac:spMkLst>
            <pc:docMk/>
            <pc:sldMk cId="187938002" sldId="3307"/>
            <ac:spMk id="15" creationId="{9AC0F421-DB3E-0949-9AB5-AA73850C36FB}"/>
          </ac:spMkLst>
        </pc:spChg>
        <pc:spChg chg="mod">
          <ac:chgData name="Hafiz Muhammad Salman" userId="47f5b1ff-37b9-4dd0-a37a-3bc5aec52fa1" providerId="ADAL" clId="{1D0D03E3-3226-4873-A599-0FE1608CAE58}" dt="2024-09-16T08:10:14.402" v="4399" actId="790"/>
          <ac:spMkLst>
            <pc:docMk/>
            <pc:sldMk cId="187938002" sldId="3307"/>
            <ac:spMk id="16" creationId="{5AE13B51-7DAB-D542-BCE2-1F6485E371E8}"/>
          </ac:spMkLst>
        </pc:spChg>
        <pc:spChg chg="mod">
          <ac:chgData name="Hafiz Muhammad Salman" userId="47f5b1ff-37b9-4dd0-a37a-3bc5aec52fa1" providerId="ADAL" clId="{1D0D03E3-3226-4873-A599-0FE1608CAE58}" dt="2024-09-16T08:10:14.403" v="4400" actId="790"/>
          <ac:spMkLst>
            <pc:docMk/>
            <pc:sldMk cId="187938002" sldId="3307"/>
            <ac:spMk id="17" creationId="{1074318C-429A-6647-8280-4F92775A9BB1}"/>
          </ac:spMkLst>
        </pc:spChg>
        <pc:spChg chg="mod">
          <ac:chgData name="Hafiz Muhammad Salman" userId="47f5b1ff-37b9-4dd0-a37a-3bc5aec52fa1" providerId="ADAL" clId="{1D0D03E3-3226-4873-A599-0FE1608CAE58}" dt="2024-09-11T12:56:32.508" v="2252" actId="790"/>
          <ac:spMkLst>
            <pc:docMk/>
            <pc:sldMk cId="187938002" sldId="3307"/>
            <ac:spMk id="18" creationId="{BAB0DEB3-1445-D942-936E-E3D8D25017E1}"/>
          </ac:spMkLst>
        </pc:spChg>
        <pc:spChg chg="mod">
          <ac:chgData name="Hafiz Muhammad Salman" userId="47f5b1ff-37b9-4dd0-a37a-3bc5aec52fa1" providerId="ADAL" clId="{1D0D03E3-3226-4873-A599-0FE1608CAE58}" dt="2024-09-16T08:10:14.404" v="4401" actId="790"/>
          <ac:spMkLst>
            <pc:docMk/>
            <pc:sldMk cId="187938002" sldId="3307"/>
            <ac:spMk id="18" creationId="{F14EA8A2-2AE3-4341-BD30-4BEF954C67B9}"/>
          </ac:spMkLst>
        </pc:spChg>
        <pc:spChg chg="mod">
          <ac:chgData name="Hafiz Muhammad Salman" userId="47f5b1ff-37b9-4dd0-a37a-3bc5aec52fa1" providerId="ADAL" clId="{1D0D03E3-3226-4873-A599-0FE1608CAE58}" dt="2024-09-16T08:10:14.405" v="4402" actId="790"/>
          <ac:spMkLst>
            <pc:docMk/>
            <pc:sldMk cId="187938002" sldId="3307"/>
            <ac:spMk id="19" creationId="{EC897D19-B235-9F4A-92C4-FA14640F4484}"/>
          </ac:spMkLst>
        </pc:spChg>
        <pc:spChg chg="mod">
          <ac:chgData name="Hafiz Muhammad Salman" userId="47f5b1ff-37b9-4dd0-a37a-3bc5aec52fa1" providerId="ADAL" clId="{1D0D03E3-3226-4873-A599-0FE1608CAE58}" dt="2024-09-16T08:10:14.405" v="4403" actId="790"/>
          <ac:spMkLst>
            <pc:docMk/>
            <pc:sldMk cId="187938002" sldId="3307"/>
            <ac:spMk id="20" creationId="{4028D91E-F010-544A-A8C3-E67F80C9EC18}"/>
          </ac:spMkLst>
        </pc:spChg>
        <pc:spChg chg="mod">
          <ac:chgData name="Hafiz Muhammad Salman" userId="47f5b1ff-37b9-4dd0-a37a-3bc5aec52fa1" providerId="ADAL" clId="{1D0D03E3-3226-4873-A599-0FE1608CAE58}" dt="2024-09-16T08:10:14.407" v="4404" actId="790"/>
          <ac:spMkLst>
            <pc:docMk/>
            <pc:sldMk cId="187938002" sldId="3307"/>
            <ac:spMk id="21" creationId="{AD56E87E-255D-CA4B-BE6D-B5D26048540D}"/>
          </ac:spMkLst>
        </pc:spChg>
        <pc:spChg chg="mod">
          <ac:chgData name="Hafiz Muhammad Salman" userId="47f5b1ff-37b9-4dd0-a37a-3bc5aec52fa1" providerId="ADAL" clId="{1D0D03E3-3226-4873-A599-0FE1608CAE58}" dt="2024-09-11T12:56:32.508" v="2251" actId="790"/>
          <ac:spMkLst>
            <pc:docMk/>
            <pc:sldMk cId="187938002" sldId="3307"/>
            <ac:spMk id="22" creationId="{04883ECF-0AB8-0B45-9881-085F09AC4473}"/>
          </ac:spMkLst>
        </pc:spChg>
        <pc:spChg chg="mod">
          <ac:chgData name="Hafiz Muhammad Salman" userId="47f5b1ff-37b9-4dd0-a37a-3bc5aec52fa1" providerId="ADAL" clId="{1D0D03E3-3226-4873-A599-0FE1608CAE58}" dt="2024-09-16T08:10:14.408" v="4405" actId="790"/>
          <ac:spMkLst>
            <pc:docMk/>
            <pc:sldMk cId="187938002" sldId="3307"/>
            <ac:spMk id="22" creationId="{3404FA09-7FB0-964B-AD43-07179DA7C078}"/>
          </ac:spMkLst>
        </pc:spChg>
        <pc:spChg chg="mod">
          <ac:chgData name="Hafiz Muhammad Salman" userId="47f5b1ff-37b9-4dd0-a37a-3bc5aec52fa1" providerId="ADAL" clId="{1D0D03E3-3226-4873-A599-0FE1608CAE58}" dt="2024-09-16T08:10:14.410" v="4406" actId="790"/>
          <ac:spMkLst>
            <pc:docMk/>
            <pc:sldMk cId="187938002" sldId="3307"/>
            <ac:spMk id="23" creationId="{A253179F-4EF7-4940-A627-33A5103565CB}"/>
          </ac:spMkLst>
        </pc:spChg>
        <pc:spChg chg="mod">
          <ac:chgData name="Hafiz Muhammad Salman" userId="47f5b1ff-37b9-4dd0-a37a-3bc5aec52fa1" providerId="ADAL" clId="{1D0D03E3-3226-4873-A599-0FE1608CAE58}" dt="2024-09-16T08:10:14.411" v="4407" actId="790"/>
          <ac:spMkLst>
            <pc:docMk/>
            <pc:sldMk cId="187938002" sldId="3307"/>
            <ac:spMk id="24" creationId="{28382D00-2D7B-A146-8524-FA226ABA13B4}"/>
          </ac:spMkLst>
        </pc:spChg>
        <pc:spChg chg="mod">
          <ac:chgData name="Hafiz Muhammad Salman" userId="47f5b1ff-37b9-4dd0-a37a-3bc5aec52fa1" providerId="ADAL" clId="{1D0D03E3-3226-4873-A599-0FE1608CAE58}" dt="2024-09-16T08:10:14.412" v="4408" actId="790"/>
          <ac:spMkLst>
            <pc:docMk/>
            <pc:sldMk cId="187938002" sldId="3307"/>
            <ac:spMk id="25" creationId="{BEF7DCA8-BC1E-EF48-A39F-65EE2BBCE5BD}"/>
          </ac:spMkLst>
        </pc:spChg>
        <pc:spChg chg="mod">
          <ac:chgData name="Hafiz Muhammad Salman" userId="47f5b1ff-37b9-4dd0-a37a-3bc5aec52fa1" providerId="ADAL" clId="{1D0D03E3-3226-4873-A599-0FE1608CAE58}" dt="2024-09-16T08:10:14.413" v="4409" actId="790"/>
          <ac:spMkLst>
            <pc:docMk/>
            <pc:sldMk cId="187938002" sldId="3307"/>
            <ac:spMk id="26" creationId="{594EC4EC-A5B2-A440-9417-E1B2615F9228}"/>
          </ac:spMkLst>
        </pc:spChg>
        <pc:spChg chg="mod">
          <ac:chgData name="Hafiz Muhammad Salman" userId="47f5b1ff-37b9-4dd0-a37a-3bc5aec52fa1" providerId="ADAL" clId="{1D0D03E3-3226-4873-A599-0FE1608CAE58}" dt="2024-09-11T12:56:32.508" v="2250" actId="790"/>
          <ac:spMkLst>
            <pc:docMk/>
            <pc:sldMk cId="187938002" sldId="3307"/>
            <ac:spMk id="26" creationId="{7CDAC856-53B6-7D4E-8AC5-88F7D9CD8102}"/>
          </ac:spMkLst>
        </pc:spChg>
        <pc:spChg chg="mod">
          <ac:chgData name="Hafiz Muhammad Salman" userId="47f5b1ff-37b9-4dd0-a37a-3bc5aec52fa1" providerId="ADAL" clId="{1D0D03E3-3226-4873-A599-0FE1608CAE58}" dt="2024-09-16T08:10:14.414" v="4410" actId="790"/>
          <ac:spMkLst>
            <pc:docMk/>
            <pc:sldMk cId="187938002" sldId="3307"/>
            <ac:spMk id="27" creationId="{6385187A-9918-9C4C-8CA4-BBD5FFA46E65}"/>
          </ac:spMkLst>
        </pc:spChg>
        <pc:spChg chg="mod">
          <ac:chgData name="Hafiz Muhammad Salman" userId="47f5b1ff-37b9-4dd0-a37a-3bc5aec52fa1" providerId="ADAL" clId="{1D0D03E3-3226-4873-A599-0FE1608CAE58}" dt="2024-09-16T08:10:14.415" v="4411" actId="790"/>
          <ac:spMkLst>
            <pc:docMk/>
            <pc:sldMk cId="187938002" sldId="3307"/>
            <ac:spMk id="28" creationId="{12C190C8-579C-084B-A33C-1CAC9246DB57}"/>
          </ac:spMkLst>
        </pc:spChg>
        <pc:spChg chg="mod">
          <ac:chgData name="Hafiz Muhammad Salman" userId="47f5b1ff-37b9-4dd0-a37a-3bc5aec52fa1" providerId="ADAL" clId="{1D0D03E3-3226-4873-A599-0FE1608CAE58}" dt="2024-09-16T08:10:14.416" v="4412" actId="790"/>
          <ac:spMkLst>
            <pc:docMk/>
            <pc:sldMk cId="187938002" sldId="3307"/>
            <ac:spMk id="29" creationId="{74D27C90-5C6B-354D-91DE-4EE1FA4E1BD2}"/>
          </ac:spMkLst>
        </pc:spChg>
        <pc:spChg chg="mod">
          <ac:chgData name="Hafiz Muhammad Salman" userId="47f5b1ff-37b9-4dd0-a37a-3bc5aec52fa1" providerId="ADAL" clId="{1D0D03E3-3226-4873-A599-0FE1608CAE58}" dt="2024-09-16T08:10:14.417" v="4413" actId="790"/>
          <ac:spMkLst>
            <pc:docMk/>
            <pc:sldMk cId="187938002" sldId="3307"/>
            <ac:spMk id="30" creationId="{1EFD85F5-9DAC-2B48-9AA2-AEA88687A0DB}"/>
          </ac:spMkLst>
        </pc:spChg>
        <pc:spChg chg="mod">
          <ac:chgData name="Hafiz Muhammad Salman" userId="47f5b1ff-37b9-4dd0-a37a-3bc5aec52fa1" providerId="ADAL" clId="{1D0D03E3-3226-4873-A599-0FE1608CAE58}" dt="2024-09-11T12:56:32.508" v="2249" actId="790"/>
          <ac:spMkLst>
            <pc:docMk/>
            <pc:sldMk cId="187938002" sldId="3307"/>
            <ac:spMk id="30" creationId="{8802262F-E4CF-F44F-83D0-8760C0DC4F13}"/>
          </ac:spMkLst>
        </pc:spChg>
        <pc:spChg chg="mod">
          <ac:chgData name="Hafiz Muhammad Salman" userId="47f5b1ff-37b9-4dd0-a37a-3bc5aec52fa1" providerId="ADAL" clId="{1D0D03E3-3226-4873-A599-0FE1608CAE58}" dt="2024-09-16T08:10:14.418" v="4414" actId="790"/>
          <ac:spMkLst>
            <pc:docMk/>
            <pc:sldMk cId="187938002" sldId="3307"/>
            <ac:spMk id="31" creationId="{A4006047-3ACB-6145-BE47-A5E3E9C5FCE0}"/>
          </ac:spMkLst>
        </pc:spChg>
        <pc:spChg chg="mod">
          <ac:chgData name="Hafiz Muhammad Salman" userId="47f5b1ff-37b9-4dd0-a37a-3bc5aec52fa1" providerId="ADAL" clId="{1D0D03E3-3226-4873-A599-0FE1608CAE58}" dt="2024-09-16T08:10:14.419" v="4415" actId="790"/>
          <ac:spMkLst>
            <pc:docMk/>
            <pc:sldMk cId="187938002" sldId="3307"/>
            <ac:spMk id="32" creationId="{77A6529A-2D3D-FB48-8CC3-DC1E13004E15}"/>
          </ac:spMkLst>
        </pc:spChg>
        <pc:spChg chg="mod">
          <ac:chgData name="Hafiz Muhammad Salman" userId="47f5b1ff-37b9-4dd0-a37a-3bc5aec52fa1" providerId="ADAL" clId="{1D0D03E3-3226-4873-A599-0FE1608CAE58}" dt="2024-09-11T12:56:32.508" v="2248" actId="790"/>
          <ac:spMkLst>
            <pc:docMk/>
            <pc:sldMk cId="187938002" sldId="3307"/>
            <ac:spMk id="34" creationId="{B7ABAED4-E7F5-734F-920B-25AA1453BA52}"/>
          </ac:spMkLst>
        </pc:spChg>
        <pc:spChg chg="mod">
          <ac:chgData name="Hafiz Muhammad Salman" userId="47f5b1ff-37b9-4dd0-a37a-3bc5aec52fa1" providerId="ADAL" clId="{1D0D03E3-3226-4873-A599-0FE1608CAE58}" dt="2024-09-11T12:56:32.492" v="2247" actId="790"/>
          <ac:spMkLst>
            <pc:docMk/>
            <pc:sldMk cId="187938002" sldId="3307"/>
            <ac:spMk id="38" creationId="{D0773D6E-9F91-114C-B85E-92E396072B45}"/>
          </ac:spMkLst>
        </pc:spChg>
        <pc:spChg chg="mod">
          <ac:chgData name="Hafiz Muhammad Salman" userId="47f5b1ff-37b9-4dd0-a37a-3bc5aec52fa1" providerId="ADAL" clId="{1D0D03E3-3226-4873-A599-0FE1608CAE58}" dt="2024-09-11T12:56:32.492" v="2241" actId="790"/>
          <ac:spMkLst>
            <pc:docMk/>
            <pc:sldMk cId="187938002" sldId="3307"/>
            <ac:spMk id="42" creationId="{0CD3F2E9-1EA2-4E4A-B43E-89134BF6569A}"/>
          </ac:spMkLst>
        </pc:spChg>
        <pc:spChg chg="mod">
          <ac:chgData name="Hafiz Muhammad Salman" userId="47f5b1ff-37b9-4dd0-a37a-3bc5aec52fa1" providerId="ADAL" clId="{1D0D03E3-3226-4873-A599-0FE1608CAE58}" dt="2024-09-11T12:56:32.492" v="2242" actId="790"/>
          <ac:spMkLst>
            <pc:docMk/>
            <pc:sldMk cId="187938002" sldId="3307"/>
            <ac:spMk id="43" creationId="{ACDB2F3A-D7B0-654E-A935-488E6E118904}"/>
          </ac:spMkLst>
        </pc:spChg>
        <pc:spChg chg="mod">
          <ac:chgData name="Hafiz Muhammad Salman" userId="47f5b1ff-37b9-4dd0-a37a-3bc5aec52fa1" providerId="ADAL" clId="{1D0D03E3-3226-4873-A599-0FE1608CAE58}" dt="2024-09-11T12:56:32.492" v="2243" actId="790"/>
          <ac:spMkLst>
            <pc:docMk/>
            <pc:sldMk cId="187938002" sldId="3307"/>
            <ac:spMk id="44" creationId="{612356EE-D037-1846-8045-84AE31CBC7A2}"/>
          </ac:spMkLst>
        </pc:spChg>
        <pc:spChg chg="mod">
          <ac:chgData name="Hafiz Muhammad Salman" userId="47f5b1ff-37b9-4dd0-a37a-3bc5aec52fa1" providerId="ADAL" clId="{1D0D03E3-3226-4873-A599-0FE1608CAE58}" dt="2024-09-11T12:56:32.492" v="2244" actId="790"/>
          <ac:spMkLst>
            <pc:docMk/>
            <pc:sldMk cId="187938002" sldId="3307"/>
            <ac:spMk id="45" creationId="{15099DA1-03D8-F14C-933F-C0E6F4ACE6ED}"/>
          </ac:spMkLst>
        </pc:spChg>
        <pc:spChg chg="mod">
          <ac:chgData name="Hafiz Muhammad Salman" userId="47f5b1ff-37b9-4dd0-a37a-3bc5aec52fa1" providerId="ADAL" clId="{1D0D03E3-3226-4873-A599-0FE1608CAE58}" dt="2024-09-11T12:56:32.492" v="2245" actId="790"/>
          <ac:spMkLst>
            <pc:docMk/>
            <pc:sldMk cId="187938002" sldId="3307"/>
            <ac:spMk id="46" creationId="{506B0705-6CF6-7345-9019-019C93E378A4}"/>
          </ac:spMkLst>
        </pc:spChg>
        <pc:spChg chg="mod">
          <ac:chgData name="Hafiz Muhammad Salman" userId="47f5b1ff-37b9-4dd0-a37a-3bc5aec52fa1" providerId="ADAL" clId="{1D0D03E3-3226-4873-A599-0FE1608CAE58}" dt="2024-09-11T12:56:32.492" v="2246" actId="790"/>
          <ac:spMkLst>
            <pc:docMk/>
            <pc:sldMk cId="187938002" sldId="3307"/>
            <ac:spMk id="47" creationId="{98E0873C-9F95-184E-9BB5-B01688667AEA}"/>
          </ac:spMkLst>
        </pc:spChg>
        <pc:spChg chg="mod">
          <ac:chgData name="Hafiz Muhammad Salman" userId="47f5b1ff-37b9-4dd0-a37a-3bc5aec52fa1" providerId="ADAL" clId="{1D0D03E3-3226-4873-A599-0FE1608CAE58}" dt="2024-09-11T12:56:32.508" v="2253" actId="790"/>
          <ac:spMkLst>
            <pc:docMk/>
            <pc:sldMk cId="187938002" sldId="3307"/>
            <ac:spMk id="48" creationId="{A84B9500-E769-154D-A44C-61F574DE6DAF}"/>
          </ac:spMkLst>
        </pc:spChg>
        <pc:spChg chg="mod">
          <ac:chgData name="Hafiz Muhammad Salman" userId="47f5b1ff-37b9-4dd0-a37a-3bc5aec52fa1" providerId="ADAL" clId="{1D0D03E3-3226-4873-A599-0FE1608CAE58}" dt="2024-09-11T12:56:32.508" v="2254" actId="790"/>
          <ac:spMkLst>
            <pc:docMk/>
            <pc:sldMk cId="187938002" sldId="3307"/>
            <ac:spMk id="49" creationId="{84498A0D-E985-1246-B459-FFCCBD65641E}"/>
          </ac:spMkLst>
        </pc:spChg>
        <pc:spChg chg="mod">
          <ac:chgData name="Hafiz Muhammad Salman" userId="47f5b1ff-37b9-4dd0-a37a-3bc5aec52fa1" providerId="ADAL" clId="{1D0D03E3-3226-4873-A599-0FE1608CAE58}" dt="2024-09-11T12:56:32.508" v="2255" actId="790"/>
          <ac:spMkLst>
            <pc:docMk/>
            <pc:sldMk cId="187938002" sldId="3307"/>
            <ac:spMk id="51" creationId="{DEE3E77D-8E99-D246-AED8-B89017AD56C0}"/>
          </ac:spMkLst>
        </pc:spChg>
        <pc:spChg chg="mod">
          <ac:chgData name="Hafiz Muhammad Salman" userId="47f5b1ff-37b9-4dd0-a37a-3bc5aec52fa1" providerId="ADAL" clId="{1D0D03E3-3226-4873-A599-0FE1608CAE58}" dt="2024-09-11T12:56:32.508" v="2256" actId="790"/>
          <ac:spMkLst>
            <pc:docMk/>
            <pc:sldMk cId="187938002" sldId="3307"/>
            <ac:spMk id="52" creationId="{CAD3AD58-5D40-194A-95F6-7D4FBCCBE54F}"/>
          </ac:spMkLst>
        </pc:spChg>
        <pc:spChg chg="mod">
          <ac:chgData name="Hafiz Muhammad Salman" userId="47f5b1ff-37b9-4dd0-a37a-3bc5aec52fa1" providerId="ADAL" clId="{1D0D03E3-3226-4873-A599-0FE1608CAE58}" dt="2024-09-11T12:56:32.508" v="2257" actId="790"/>
          <ac:spMkLst>
            <pc:docMk/>
            <pc:sldMk cId="187938002" sldId="3307"/>
            <ac:spMk id="53" creationId="{4DA5D376-7A31-5248-B3B0-7FE71DCC327B}"/>
          </ac:spMkLst>
        </pc:spChg>
        <pc:spChg chg="mod">
          <ac:chgData name="Hafiz Muhammad Salman" userId="47f5b1ff-37b9-4dd0-a37a-3bc5aec52fa1" providerId="ADAL" clId="{1D0D03E3-3226-4873-A599-0FE1608CAE58}" dt="2024-09-11T12:56:32.508" v="2258" actId="790"/>
          <ac:spMkLst>
            <pc:docMk/>
            <pc:sldMk cId="187938002" sldId="3307"/>
            <ac:spMk id="54" creationId="{702881F6-8118-A941-96D0-F1CBA5871DB0}"/>
          </ac:spMkLst>
        </pc:spChg>
        <pc:spChg chg="mod">
          <ac:chgData name="Hafiz Muhammad Salman" userId="47f5b1ff-37b9-4dd0-a37a-3bc5aec52fa1" providerId="ADAL" clId="{1D0D03E3-3226-4873-A599-0FE1608CAE58}" dt="2024-09-11T12:56:32.508" v="2259" actId="790"/>
          <ac:spMkLst>
            <pc:docMk/>
            <pc:sldMk cId="187938002" sldId="3307"/>
            <ac:spMk id="55" creationId="{36713EA2-1177-B842-B1A2-B46CEFF4D682}"/>
          </ac:spMkLst>
        </pc:spChg>
        <pc:spChg chg="mod">
          <ac:chgData name="Hafiz Muhammad Salman" userId="47f5b1ff-37b9-4dd0-a37a-3bc5aec52fa1" providerId="ADAL" clId="{1D0D03E3-3226-4873-A599-0FE1608CAE58}" dt="2024-09-11T12:56:32.508" v="2260" actId="790"/>
          <ac:spMkLst>
            <pc:docMk/>
            <pc:sldMk cId="187938002" sldId="3307"/>
            <ac:spMk id="56" creationId="{8013E062-6CC0-0B41-9144-F94B56D60D4E}"/>
          </ac:spMkLst>
        </pc:spChg>
        <pc:spChg chg="mod">
          <ac:chgData name="Hafiz Muhammad Salman" userId="47f5b1ff-37b9-4dd0-a37a-3bc5aec52fa1" providerId="ADAL" clId="{1D0D03E3-3226-4873-A599-0FE1608CAE58}" dt="2024-09-11T12:56:32.523" v="2261" actId="790"/>
          <ac:spMkLst>
            <pc:docMk/>
            <pc:sldMk cId="187938002" sldId="3307"/>
            <ac:spMk id="57" creationId="{861CEB44-0415-F241-A4B7-F79AB38C8545}"/>
          </ac:spMkLst>
        </pc:spChg>
        <pc:spChg chg="mod">
          <ac:chgData name="Hafiz Muhammad Salman" userId="47f5b1ff-37b9-4dd0-a37a-3bc5aec52fa1" providerId="ADAL" clId="{1D0D03E3-3226-4873-A599-0FE1608CAE58}" dt="2024-09-11T12:56:32.525" v="2262" actId="790"/>
          <ac:spMkLst>
            <pc:docMk/>
            <pc:sldMk cId="187938002" sldId="3307"/>
            <ac:spMk id="58" creationId="{451D7293-3786-1B45-A359-0FCE0DB6C870}"/>
          </ac:spMkLst>
        </pc:spChg>
        <pc:spChg chg="mod">
          <ac:chgData name="Hafiz Muhammad Salman" userId="47f5b1ff-37b9-4dd0-a37a-3bc5aec52fa1" providerId="ADAL" clId="{1D0D03E3-3226-4873-A599-0FE1608CAE58}" dt="2024-09-11T12:56:32.525" v="2263" actId="790"/>
          <ac:spMkLst>
            <pc:docMk/>
            <pc:sldMk cId="187938002" sldId="3307"/>
            <ac:spMk id="59" creationId="{BB3F4D9F-182C-5C4D-A310-7BA438691F0E}"/>
          </ac:spMkLst>
        </pc:spChg>
        <pc:spChg chg="mod">
          <ac:chgData name="Hafiz Muhammad Salman" userId="47f5b1ff-37b9-4dd0-a37a-3bc5aec52fa1" providerId="ADAL" clId="{1D0D03E3-3226-4873-A599-0FE1608CAE58}" dt="2024-09-11T12:56:32.525" v="2264" actId="790"/>
          <ac:spMkLst>
            <pc:docMk/>
            <pc:sldMk cId="187938002" sldId="3307"/>
            <ac:spMk id="60" creationId="{D9C0706A-ECEE-4542-BDAB-CF7B05FE7433}"/>
          </ac:spMkLst>
        </pc:spChg>
      </pc:sldChg>
      <pc:sldChg chg="modSp del mod">
        <pc:chgData name="Hafiz Muhammad Salman" userId="47f5b1ff-37b9-4dd0-a37a-3bc5aec52fa1" providerId="ADAL" clId="{1D0D03E3-3226-4873-A599-0FE1608CAE58}" dt="2024-09-16T08:13:44.134" v="4542" actId="47"/>
        <pc:sldMkLst>
          <pc:docMk/>
          <pc:sldMk cId="4138121730" sldId="3308"/>
        </pc:sldMkLst>
        <pc:spChg chg="mod">
          <ac:chgData name="Hafiz Muhammad Salman" userId="47f5b1ff-37b9-4dd0-a37a-3bc5aec52fa1" providerId="ADAL" clId="{1D0D03E3-3226-4873-A599-0FE1608CAE58}" dt="2024-09-16T08:10:13.436" v="4345" actId="790"/>
          <ac:spMkLst>
            <pc:docMk/>
            <pc:sldMk cId="4138121730" sldId="3308"/>
            <ac:spMk id="4" creationId="{6653D1BC-F7A2-3547-AED5-25F622F4F313}"/>
          </ac:spMkLst>
        </pc:spChg>
        <pc:spChg chg="mod">
          <ac:chgData name="Hafiz Muhammad Salman" userId="47f5b1ff-37b9-4dd0-a37a-3bc5aec52fa1" providerId="ADAL" clId="{1D0D03E3-3226-4873-A599-0FE1608CAE58}" dt="2024-09-16T08:10:13.437" v="4346" actId="790"/>
          <ac:spMkLst>
            <pc:docMk/>
            <pc:sldMk cId="4138121730" sldId="3308"/>
            <ac:spMk id="5" creationId="{C14BF932-26CC-DE40-B40B-38AD87467AFD}"/>
          </ac:spMkLst>
        </pc:spChg>
        <pc:spChg chg="mod">
          <ac:chgData name="Hafiz Muhammad Salman" userId="47f5b1ff-37b9-4dd0-a37a-3bc5aec52fa1" providerId="ADAL" clId="{1D0D03E3-3226-4873-A599-0FE1608CAE58}" dt="2024-09-16T08:10:13.438" v="4347" actId="790"/>
          <ac:spMkLst>
            <pc:docMk/>
            <pc:sldMk cId="4138121730" sldId="3308"/>
            <ac:spMk id="6" creationId="{FF4844C2-B353-B14D-9084-727626221ACF}"/>
          </ac:spMkLst>
        </pc:spChg>
        <pc:spChg chg="mod">
          <ac:chgData name="Hafiz Muhammad Salman" userId="47f5b1ff-37b9-4dd0-a37a-3bc5aec52fa1" providerId="ADAL" clId="{1D0D03E3-3226-4873-A599-0FE1608CAE58}" dt="2024-09-16T08:10:13.439" v="4348" actId="790"/>
          <ac:spMkLst>
            <pc:docMk/>
            <pc:sldMk cId="4138121730" sldId="3308"/>
            <ac:spMk id="7" creationId="{038D8930-D57C-7349-A89A-CB6F3D665A52}"/>
          </ac:spMkLst>
        </pc:spChg>
        <pc:spChg chg="mod">
          <ac:chgData name="Hafiz Muhammad Salman" userId="47f5b1ff-37b9-4dd0-a37a-3bc5aec52fa1" providerId="ADAL" clId="{1D0D03E3-3226-4873-A599-0FE1608CAE58}" dt="2024-09-16T08:10:13.440" v="4349" actId="790"/>
          <ac:spMkLst>
            <pc:docMk/>
            <pc:sldMk cId="4138121730" sldId="3308"/>
            <ac:spMk id="8" creationId="{1A733220-6D70-3C49-BF4A-6D8E308D8F90}"/>
          </ac:spMkLst>
        </pc:spChg>
        <pc:spChg chg="mod">
          <ac:chgData name="Hafiz Muhammad Salman" userId="47f5b1ff-37b9-4dd0-a37a-3bc5aec52fa1" providerId="ADAL" clId="{1D0D03E3-3226-4873-A599-0FE1608CAE58}" dt="2024-09-16T08:10:13.441" v="4350" actId="790"/>
          <ac:spMkLst>
            <pc:docMk/>
            <pc:sldMk cId="4138121730" sldId="3308"/>
            <ac:spMk id="9" creationId="{2DEAFCEC-5B0A-5749-82C6-8A1DA057CE89}"/>
          </ac:spMkLst>
        </pc:spChg>
        <pc:spChg chg="mod">
          <ac:chgData name="Hafiz Muhammad Salman" userId="47f5b1ff-37b9-4dd0-a37a-3bc5aec52fa1" providerId="ADAL" clId="{1D0D03E3-3226-4873-A599-0FE1608CAE58}" dt="2024-09-16T08:10:13.444" v="4351" actId="790"/>
          <ac:spMkLst>
            <pc:docMk/>
            <pc:sldMk cId="4138121730" sldId="3308"/>
            <ac:spMk id="10" creationId="{EC7B1EFF-A50F-DA4A-A6F7-677DBF398D77}"/>
          </ac:spMkLst>
        </pc:spChg>
        <pc:spChg chg="mod">
          <ac:chgData name="Hafiz Muhammad Salman" userId="47f5b1ff-37b9-4dd0-a37a-3bc5aec52fa1" providerId="ADAL" clId="{1D0D03E3-3226-4873-A599-0FE1608CAE58}" dt="2024-09-16T08:10:13.445" v="4352" actId="790"/>
          <ac:spMkLst>
            <pc:docMk/>
            <pc:sldMk cId="4138121730" sldId="3308"/>
            <ac:spMk id="11" creationId="{A082FA9F-2230-0045-A397-8B18A2204788}"/>
          </ac:spMkLst>
        </pc:spChg>
        <pc:spChg chg="mod">
          <ac:chgData name="Hafiz Muhammad Salman" userId="47f5b1ff-37b9-4dd0-a37a-3bc5aec52fa1" providerId="ADAL" clId="{1D0D03E3-3226-4873-A599-0FE1608CAE58}" dt="2024-09-16T08:10:13.446" v="4353" actId="790"/>
          <ac:spMkLst>
            <pc:docMk/>
            <pc:sldMk cId="4138121730" sldId="3308"/>
            <ac:spMk id="12" creationId="{0C549AF4-5C2A-F948-91A8-1721F2D25AA5}"/>
          </ac:spMkLst>
        </pc:spChg>
        <pc:spChg chg="mod">
          <ac:chgData name="Hafiz Muhammad Salman" userId="47f5b1ff-37b9-4dd0-a37a-3bc5aec52fa1" providerId="ADAL" clId="{1D0D03E3-3226-4873-A599-0FE1608CAE58}" dt="2024-09-16T08:10:13.447" v="4354" actId="790"/>
          <ac:spMkLst>
            <pc:docMk/>
            <pc:sldMk cId="4138121730" sldId="3308"/>
            <ac:spMk id="13" creationId="{8BC0A4DE-7933-3042-96A0-69543AD6D179}"/>
          </ac:spMkLst>
        </pc:spChg>
        <pc:spChg chg="mod">
          <ac:chgData name="Hafiz Muhammad Salman" userId="47f5b1ff-37b9-4dd0-a37a-3bc5aec52fa1" providerId="ADAL" clId="{1D0D03E3-3226-4873-A599-0FE1608CAE58}" dt="2024-09-16T08:10:13.447" v="4355" actId="790"/>
          <ac:spMkLst>
            <pc:docMk/>
            <pc:sldMk cId="4138121730" sldId="3308"/>
            <ac:spMk id="14" creationId="{247A823C-3FAA-1A40-9C10-E90B444580E4}"/>
          </ac:spMkLst>
        </pc:spChg>
        <pc:spChg chg="mod">
          <ac:chgData name="Hafiz Muhammad Salman" userId="47f5b1ff-37b9-4dd0-a37a-3bc5aec52fa1" providerId="ADAL" clId="{1D0D03E3-3226-4873-A599-0FE1608CAE58}" dt="2024-09-16T08:10:13.448" v="4356" actId="790"/>
          <ac:spMkLst>
            <pc:docMk/>
            <pc:sldMk cId="4138121730" sldId="3308"/>
            <ac:spMk id="15" creationId="{CCDB1B4C-D1D3-474B-BBA5-1ABACB4C6455}"/>
          </ac:spMkLst>
        </pc:spChg>
        <pc:spChg chg="mod">
          <ac:chgData name="Hafiz Muhammad Salman" userId="47f5b1ff-37b9-4dd0-a37a-3bc5aec52fa1" providerId="ADAL" clId="{1D0D03E3-3226-4873-A599-0FE1608CAE58}" dt="2024-09-16T08:10:13.449" v="4357" actId="790"/>
          <ac:spMkLst>
            <pc:docMk/>
            <pc:sldMk cId="4138121730" sldId="3308"/>
            <ac:spMk id="16" creationId="{EF438AC7-4C5E-4641-9693-207F98CE8535}"/>
          </ac:spMkLst>
        </pc:spChg>
        <pc:spChg chg="mod">
          <ac:chgData name="Hafiz Muhammad Salman" userId="47f5b1ff-37b9-4dd0-a37a-3bc5aec52fa1" providerId="ADAL" clId="{1D0D03E3-3226-4873-A599-0FE1608CAE58}" dt="2024-09-16T08:10:13.450" v="4358" actId="790"/>
          <ac:spMkLst>
            <pc:docMk/>
            <pc:sldMk cId="4138121730" sldId="3308"/>
            <ac:spMk id="17" creationId="{4F2DB044-BC09-0843-888E-8A3D23FAB647}"/>
          </ac:spMkLst>
        </pc:spChg>
        <pc:spChg chg="mod">
          <ac:chgData name="Hafiz Muhammad Salman" userId="47f5b1ff-37b9-4dd0-a37a-3bc5aec52fa1" providerId="ADAL" clId="{1D0D03E3-3226-4873-A599-0FE1608CAE58}" dt="2024-09-16T08:10:13.451" v="4359" actId="790"/>
          <ac:spMkLst>
            <pc:docMk/>
            <pc:sldMk cId="4138121730" sldId="3308"/>
            <ac:spMk id="18" creationId="{D2822A13-F54F-0143-BC60-3CCC58C875DC}"/>
          </ac:spMkLst>
        </pc:spChg>
        <pc:spChg chg="mod">
          <ac:chgData name="Hafiz Muhammad Salman" userId="47f5b1ff-37b9-4dd0-a37a-3bc5aec52fa1" providerId="ADAL" clId="{1D0D03E3-3226-4873-A599-0FE1608CAE58}" dt="2024-09-16T08:10:13.452" v="4360" actId="790"/>
          <ac:spMkLst>
            <pc:docMk/>
            <pc:sldMk cId="4138121730" sldId="3308"/>
            <ac:spMk id="19" creationId="{2D264144-A1CB-A346-A31E-2981AFAD205D}"/>
          </ac:spMkLst>
        </pc:spChg>
      </pc:sldChg>
      <pc:sldChg chg="delSp modSp mod">
        <pc:chgData name="Hafiz Muhammad Salman" userId="47f5b1ff-37b9-4dd0-a37a-3bc5aec52fa1" providerId="ADAL" clId="{1D0D03E3-3226-4873-A599-0FE1608CAE58}" dt="2024-09-16T08:16:34.234" v="4681" actId="20577"/>
        <pc:sldMkLst>
          <pc:docMk/>
          <pc:sldMk cId="1825176316" sldId="3309"/>
        </pc:sldMkLst>
        <pc:spChg chg="mod">
          <ac:chgData name="Hafiz Muhammad Salman" userId="47f5b1ff-37b9-4dd0-a37a-3bc5aec52fa1" providerId="ADAL" clId="{1D0D03E3-3226-4873-A599-0FE1608CAE58}" dt="2024-09-16T08:16:34.234" v="4681" actId="20577"/>
          <ac:spMkLst>
            <pc:docMk/>
            <pc:sldMk cId="1825176316" sldId="3309"/>
            <ac:spMk id="4" creationId="{5B63AE30-BB49-4F4A-BE45-CF85E65FE5AE}"/>
          </ac:spMkLst>
        </pc:spChg>
        <pc:spChg chg="mod">
          <ac:chgData name="Hafiz Muhammad Salman" userId="47f5b1ff-37b9-4dd0-a37a-3bc5aec52fa1" providerId="ADAL" clId="{1D0D03E3-3226-4873-A599-0FE1608CAE58}" dt="2024-09-16T08:10:13.931" v="4361" actId="790"/>
          <ac:spMkLst>
            <pc:docMk/>
            <pc:sldMk cId="1825176316" sldId="3309"/>
            <ac:spMk id="9" creationId="{64D7545F-22BF-2947-B078-37D221B47BF8}"/>
          </ac:spMkLst>
        </pc:spChg>
        <pc:spChg chg="mod">
          <ac:chgData name="Hafiz Muhammad Salman" userId="47f5b1ff-37b9-4dd0-a37a-3bc5aec52fa1" providerId="ADAL" clId="{1D0D03E3-3226-4873-A599-0FE1608CAE58}" dt="2024-09-16T08:10:13.932" v="4362" actId="790"/>
          <ac:spMkLst>
            <pc:docMk/>
            <pc:sldMk cId="1825176316" sldId="3309"/>
            <ac:spMk id="10" creationId="{23847005-3026-BF42-B5EC-7281925BF2B4}"/>
          </ac:spMkLst>
        </pc:spChg>
        <pc:spChg chg="mod">
          <ac:chgData name="Hafiz Muhammad Salman" userId="47f5b1ff-37b9-4dd0-a37a-3bc5aec52fa1" providerId="ADAL" clId="{1D0D03E3-3226-4873-A599-0FE1608CAE58}" dt="2024-09-16T08:10:13.932" v="4363" actId="790"/>
          <ac:spMkLst>
            <pc:docMk/>
            <pc:sldMk cId="1825176316" sldId="3309"/>
            <ac:spMk id="11" creationId="{802393B2-098D-CB45-A7D1-E4AA05A333D7}"/>
          </ac:spMkLst>
        </pc:spChg>
        <pc:spChg chg="mod">
          <ac:chgData name="Hafiz Muhammad Salman" userId="47f5b1ff-37b9-4dd0-a37a-3bc5aec52fa1" providerId="ADAL" clId="{1D0D03E3-3226-4873-A599-0FE1608CAE58}" dt="2024-09-16T08:10:13.933" v="4364" actId="790"/>
          <ac:spMkLst>
            <pc:docMk/>
            <pc:sldMk cId="1825176316" sldId="3309"/>
            <ac:spMk id="18" creationId="{87A6F767-78A0-264E-B33F-6285E7BBCEC9}"/>
          </ac:spMkLst>
        </pc:spChg>
        <pc:spChg chg="mod">
          <ac:chgData name="Hafiz Muhammad Salman" userId="47f5b1ff-37b9-4dd0-a37a-3bc5aec52fa1" providerId="ADAL" clId="{1D0D03E3-3226-4873-A599-0FE1608CAE58}" dt="2024-09-16T08:10:13.970" v="4394" actId="790"/>
          <ac:spMkLst>
            <pc:docMk/>
            <pc:sldMk cId="1825176316" sldId="3309"/>
            <ac:spMk id="21" creationId="{FD904F95-E618-5145-B2BD-EC450964FB06}"/>
          </ac:spMkLst>
        </pc:spChg>
        <pc:spChg chg="mod">
          <ac:chgData name="Hafiz Muhammad Salman" userId="47f5b1ff-37b9-4dd0-a37a-3bc5aec52fa1" providerId="ADAL" clId="{1D0D03E3-3226-4873-A599-0FE1608CAE58}" dt="2024-09-16T08:10:13.935" v="4365" actId="790"/>
          <ac:spMkLst>
            <pc:docMk/>
            <pc:sldMk cId="1825176316" sldId="3309"/>
            <ac:spMk id="24" creationId="{6CF7C3A1-C636-5243-A15E-D13D799D545D}"/>
          </ac:spMkLst>
        </pc:spChg>
        <pc:spChg chg="mod">
          <ac:chgData name="Hafiz Muhammad Salman" userId="47f5b1ff-37b9-4dd0-a37a-3bc5aec52fa1" providerId="ADAL" clId="{1D0D03E3-3226-4873-A599-0FE1608CAE58}" dt="2024-09-16T08:10:13.936" v="4366" actId="790"/>
          <ac:spMkLst>
            <pc:docMk/>
            <pc:sldMk cId="1825176316" sldId="3309"/>
            <ac:spMk id="31" creationId="{69B6EA06-CA26-0549-B7F3-1C76FE6EDAB6}"/>
          </ac:spMkLst>
        </pc:spChg>
        <pc:spChg chg="mod">
          <ac:chgData name="Hafiz Muhammad Salman" userId="47f5b1ff-37b9-4dd0-a37a-3bc5aec52fa1" providerId="ADAL" clId="{1D0D03E3-3226-4873-A599-0FE1608CAE58}" dt="2024-09-16T08:10:13.937" v="4367" actId="790"/>
          <ac:spMkLst>
            <pc:docMk/>
            <pc:sldMk cId="1825176316" sldId="3309"/>
            <ac:spMk id="32" creationId="{AEA338F3-C4F9-4242-84BB-4DC25A022536}"/>
          </ac:spMkLst>
        </pc:spChg>
        <pc:spChg chg="mod">
          <ac:chgData name="Hafiz Muhammad Salman" userId="47f5b1ff-37b9-4dd0-a37a-3bc5aec52fa1" providerId="ADAL" clId="{1D0D03E3-3226-4873-A599-0FE1608CAE58}" dt="2024-09-16T08:10:13.939" v="4368" actId="790"/>
          <ac:spMkLst>
            <pc:docMk/>
            <pc:sldMk cId="1825176316" sldId="3309"/>
            <ac:spMk id="35" creationId="{A4BA1F23-8B1E-4242-B9B7-F936FD1F4956}"/>
          </ac:spMkLst>
        </pc:spChg>
        <pc:spChg chg="mod">
          <ac:chgData name="Hafiz Muhammad Salman" userId="47f5b1ff-37b9-4dd0-a37a-3bc5aec52fa1" providerId="ADAL" clId="{1D0D03E3-3226-4873-A599-0FE1608CAE58}" dt="2024-09-16T08:10:13.940" v="4369" actId="790"/>
          <ac:spMkLst>
            <pc:docMk/>
            <pc:sldMk cId="1825176316" sldId="3309"/>
            <ac:spMk id="36" creationId="{41A05F0E-66A8-2441-8365-EAEB097F8744}"/>
          </ac:spMkLst>
        </pc:spChg>
        <pc:spChg chg="mod">
          <ac:chgData name="Hafiz Muhammad Salman" userId="47f5b1ff-37b9-4dd0-a37a-3bc5aec52fa1" providerId="ADAL" clId="{1D0D03E3-3226-4873-A599-0FE1608CAE58}" dt="2024-09-16T08:10:13.941" v="4370" actId="790"/>
          <ac:spMkLst>
            <pc:docMk/>
            <pc:sldMk cId="1825176316" sldId="3309"/>
            <ac:spMk id="37" creationId="{D7328264-82DD-2045-A292-A62E46C82C34}"/>
          </ac:spMkLst>
        </pc:spChg>
        <pc:spChg chg="mod">
          <ac:chgData name="Hafiz Muhammad Salman" userId="47f5b1ff-37b9-4dd0-a37a-3bc5aec52fa1" providerId="ADAL" clId="{1D0D03E3-3226-4873-A599-0FE1608CAE58}" dt="2024-09-16T08:10:13.942" v="4371" actId="790"/>
          <ac:spMkLst>
            <pc:docMk/>
            <pc:sldMk cId="1825176316" sldId="3309"/>
            <ac:spMk id="38" creationId="{42B153FB-A2EC-4048-A183-F88D4DA9ADF1}"/>
          </ac:spMkLst>
        </pc:spChg>
        <pc:spChg chg="mod">
          <ac:chgData name="Hafiz Muhammad Salman" userId="47f5b1ff-37b9-4dd0-a37a-3bc5aec52fa1" providerId="ADAL" clId="{1D0D03E3-3226-4873-A599-0FE1608CAE58}" dt="2024-09-16T08:10:13.942" v="4372" actId="790"/>
          <ac:spMkLst>
            <pc:docMk/>
            <pc:sldMk cId="1825176316" sldId="3309"/>
            <ac:spMk id="39" creationId="{4BA466DB-0AAF-694F-BE6B-E128795895CD}"/>
          </ac:spMkLst>
        </pc:spChg>
        <pc:spChg chg="mod">
          <ac:chgData name="Hafiz Muhammad Salman" userId="47f5b1ff-37b9-4dd0-a37a-3bc5aec52fa1" providerId="ADAL" clId="{1D0D03E3-3226-4873-A599-0FE1608CAE58}" dt="2024-09-16T08:10:13.943" v="4373" actId="790"/>
          <ac:spMkLst>
            <pc:docMk/>
            <pc:sldMk cId="1825176316" sldId="3309"/>
            <ac:spMk id="40" creationId="{6B1E8B81-4115-C34F-9F1A-75D9CB36DACC}"/>
          </ac:spMkLst>
        </pc:spChg>
        <pc:spChg chg="mod">
          <ac:chgData name="Hafiz Muhammad Salman" userId="47f5b1ff-37b9-4dd0-a37a-3bc5aec52fa1" providerId="ADAL" clId="{1D0D03E3-3226-4873-A599-0FE1608CAE58}" dt="2024-09-16T08:10:13.947" v="4374" actId="790"/>
          <ac:spMkLst>
            <pc:docMk/>
            <pc:sldMk cId="1825176316" sldId="3309"/>
            <ac:spMk id="52" creationId="{DA399B21-4B1B-4B46-980A-EF636D712A9E}"/>
          </ac:spMkLst>
        </pc:spChg>
        <pc:spChg chg="mod">
          <ac:chgData name="Hafiz Muhammad Salman" userId="47f5b1ff-37b9-4dd0-a37a-3bc5aec52fa1" providerId="ADAL" clId="{1D0D03E3-3226-4873-A599-0FE1608CAE58}" dt="2024-09-16T08:10:13.948" v="4375" actId="790"/>
          <ac:spMkLst>
            <pc:docMk/>
            <pc:sldMk cId="1825176316" sldId="3309"/>
            <ac:spMk id="53" creationId="{378C376F-D1DD-8447-B95D-CA9C82A0199E}"/>
          </ac:spMkLst>
        </pc:spChg>
        <pc:spChg chg="mod">
          <ac:chgData name="Hafiz Muhammad Salman" userId="47f5b1ff-37b9-4dd0-a37a-3bc5aec52fa1" providerId="ADAL" clId="{1D0D03E3-3226-4873-A599-0FE1608CAE58}" dt="2024-09-16T08:10:13.949" v="4376" actId="790"/>
          <ac:spMkLst>
            <pc:docMk/>
            <pc:sldMk cId="1825176316" sldId="3309"/>
            <ac:spMk id="54" creationId="{EC4864AB-855C-EA45-8746-FCF8A8E04EA9}"/>
          </ac:spMkLst>
        </pc:spChg>
        <pc:spChg chg="mod">
          <ac:chgData name="Hafiz Muhammad Salman" userId="47f5b1ff-37b9-4dd0-a37a-3bc5aec52fa1" providerId="ADAL" clId="{1D0D03E3-3226-4873-A599-0FE1608CAE58}" dt="2024-09-16T08:10:13.950" v="4377" actId="790"/>
          <ac:spMkLst>
            <pc:docMk/>
            <pc:sldMk cId="1825176316" sldId="3309"/>
            <ac:spMk id="55" creationId="{B9493188-1D98-7F4A-864A-031197E9A7A5}"/>
          </ac:spMkLst>
        </pc:spChg>
        <pc:spChg chg="mod">
          <ac:chgData name="Hafiz Muhammad Salman" userId="47f5b1ff-37b9-4dd0-a37a-3bc5aec52fa1" providerId="ADAL" clId="{1D0D03E3-3226-4873-A599-0FE1608CAE58}" dt="2024-09-16T08:10:13.951" v="4378" actId="790"/>
          <ac:spMkLst>
            <pc:docMk/>
            <pc:sldMk cId="1825176316" sldId="3309"/>
            <ac:spMk id="59" creationId="{58F6CC99-B67E-9A4A-AB59-F68DCD41304E}"/>
          </ac:spMkLst>
        </pc:spChg>
        <pc:spChg chg="mod">
          <ac:chgData name="Hafiz Muhammad Salman" userId="47f5b1ff-37b9-4dd0-a37a-3bc5aec52fa1" providerId="ADAL" clId="{1D0D03E3-3226-4873-A599-0FE1608CAE58}" dt="2024-09-16T08:10:13.953" v="4379" actId="790"/>
          <ac:spMkLst>
            <pc:docMk/>
            <pc:sldMk cId="1825176316" sldId="3309"/>
            <ac:spMk id="60" creationId="{616668F8-3E33-3548-A2EB-B4EA2111F60F}"/>
          </ac:spMkLst>
        </pc:spChg>
        <pc:spChg chg="mod">
          <ac:chgData name="Hafiz Muhammad Salman" userId="47f5b1ff-37b9-4dd0-a37a-3bc5aec52fa1" providerId="ADAL" clId="{1D0D03E3-3226-4873-A599-0FE1608CAE58}" dt="2024-09-16T08:10:13.954" v="4380" actId="790"/>
          <ac:spMkLst>
            <pc:docMk/>
            <pc:sldMk cId="1825176316" sldId="3309"/>
            <ac:spMk id="61" creationId="{8FE484B4-F99D-4E4A-95AB-91A430AAEA44}"/>
          </ac:spMkLst>
        </pc:spChg>
        <pc:spChg chg="mod">
          <ac:chgData name="Hafiz Muhammad Salman" userId="47f5b1ff-37b9-4dd0-a37a-3bc5aec52fa1" providerId="ADAL" clId="{1D0D03E3-3226-4873-A599-0FE1608CAE58}" dt="2024-09-16T08:10:13.956" v="4381" actId="790"/>
          <ac:spMkLst>
            <pc:docMk/>
            <pc:sldMk cId="1825176316" sldId="3309"/>
            <ac:spMk id="63" creationId="{E5313BC6-7271-B14C-9A6B-E6F9D254B34D}"/>
          </ac:spMkLst>
        </pc:spChg>
        <pc:spChg chg="mod">
          <ac:chgData name="Hafiz Muhammad Salman" userId="47f5b1ff-37b9-4dd0-a37a-3bc5aec52fa1" providerId="ADAL" clId="{1D0D03E3-3226-4873-A599-0FE1608CAE58}" dt="2024-09-16T08:10:13.957" v="4382" actId="790"/>
          <ac:spMkLst>
            <pc:docMk/>
            <pc:sldMk cId="1825176316" sldId="3309"/>
            <ac:spMk id="64" creationId="{33E7E3A9-DE95-4341-BDA9-7C2592DF7B32}"/>
          </ac:spMkLst>
        </pc:spChg>
        <pc:spChg chg="mod">
          <ac:chgData name="Hafiz Muhammad Salman" userId="47f5b1ff-37b9-4dd0-a37a-3bc5aec52fa1" providerId="ADAL" clId="{1D0D03E3-3226-4873-A599-0FE1608CAE58}" dt="2024-09-16T08:10:13.958" v="4383" actId="790"/>
          <ac:spMkLst>
            <pc:docMk/>
            <pc:sldMk cId="1825176316" sldId="3309"/>
            <ac:spMk id="65" creationId="{93451571-72EA-894E-9134-FA9AC7FD9149}"/>
          </ac:spMkLst>
        </pc:spChg>
        <pc:spChg chg="mod">
          <ac:chgData name="Hafiz Muhammad Salman" userId="47f5b1ff-37b9-4dd0-a37a-3bc5aec52fa1" providerId="ADAL" clId="{1D0D03E3-3226-4873-A599-0FE1608CAE58}" dt="2024-09-16T08:12:53.409" v="4507" actId="20577"/>
          <ac:spMkLst>
            <pc:docMk/>
            <pc:sldMk cId="1825176316" sldId="3309"/>
            <ac:spMk id="66" creationId="{E349412B-D720-CF4B-A448-C16F1FE515D4}"/>
          </ac:spMkLst>
        </pc:spChg>
        <pc:spChg chg="del mod">
          <ac:chgData name="Hafiz Muhammad Salman" userId="47f5b1ff-37b9-4dd0-a37a-3bc5aec52fa1" providerId="ADAL" clId="{1D0D03E3-3226-4873-A599-0FE1608CAE58}" dt="2024-09-16T08:13:28.378" v="4537" actId="478"/>
          <ac:spMkLst>
            <pc:docMk/>
            <pc:sldMk cId="1825176316" sldId="3309"/>
            <ac:spMk id="67" creationId="{2AEB81E6-A220-4340-9D7C-3E2207816841}"/>
          </ac:spMkLst>
        </pc:spChg>
        <pc:spChg chg="mod">
          <ac:chgData name="Hafiz Muhammad Salman" userId="47f5b1ff-37b9-4dd0-a37a-3bc5aec52fa1" providerId="ADAL" clId="{1D0D03E3-3226-4873-A599-0FE1608CAE58}" dt="2024-09-16T08:12:59.642" v="4511" actId="20577"/>
          <ac:spMkLst>
            <pc:docMk/>
            <pc:sldMk cId="1825176316" sldId="3309"/>
            <ac:spMk id="68" creationId="{4EEC77E9-EE7E-1248-BE10-8423CCE87745}"/>
          </ac:spMkLst>
        </pc:spChg>
        <pc:spChg chg="del mod">
          <ac:chgData name="Hafiz Muhammad Salman" userId="47f5b1ff-37b9-4dd0-a37a-3bc5aec52fa1" providerId="ADAL" clId="{1D0D03E3-3226-4873-A599-0FE1608CAE58}" dt="2024-09-16T08:13:31.258" v="4538" actId="478"/>
          <ac:spMkLst>
            <pc:docMk/>
            <pc:sldMk cId="1825176316" sldId="3309"/>
            <ac:spMk id="69" creationId="{C30148D6-38BB-8249-B9E1-681B90581709}"/>
          </ac:spMkLst>
        </pc:spChg>
        <pc:spChg chg="mod">
          <ac:chgData name="Hafiz Muhammad Salman" userId="47f5b1ff-37b9-4dd0-a37a-3bc5aec52fa1" providerId="ADAL" clId="{1D0D03E3-3226-4873-A599-0FE1608CAE58}" dt="2024-09-16T08:13:07.073" v="4521" actId="20577"/>
          <ac:spMkLst>
            <pc:docMk/>
            <pc:sldMk cId="1825176316" sldId="3309"/>
            <ac:spMk id="70" creationId="{F179A501-8C4B-8845-8189-B3826D5D9048}"/>
          </ac:spMkLst>
        </pc:spChg>
        <pc:spChg chg="del mod">
          <ac:chgData name="Hafiz Muhammad Salman" userId="47f5b1ff-37b9-4dd0-a37a-3bc5aec52fa1" providerId="ADAL" clId="{1D0D03E3-3226-4873-A599-0FE1608CAE58}" dt="2024-09-16T08:13:33.249" v="4539" actId="478"/>
          <ac:spMkLst>
            <pc:docMk/>
            <pc:sldMk cId="1825176316" sldId="3309"/>
            <ac:spMk id="71" creationId="{E6D15C1A-786B-CA4F-AD5D-6ECD7EB693D4}"/>
          </ac:spMkLst>
        </pc:spChg>
        <pc:spChg chg="mod">
          <ac:chgData name="Hafiz Muhammad Salman" userId="47f5b1ff-37b9-4dd0-a37a-3bc5aec52fa1" providerId="ADAL" clId="{1D0D03E3-3226-4873-A599-0FE1608CAE58}" dt="2024-09-16T08:13:12.657" v="4528" actId="20577"/>
          <ac:spMkLst>
            <pc:docMk/>
            <pc:sldMk cId="1825176316" sldId="3309"/>
            <ac:spMk id="72" creationId="{41C11513-1E78-CA47-9883-A56434F96CAB}"/>
          </ac:spMkLst>
        </pc:spChg>
        <pc:spChg chg="del mod">
          <ac:chgData name="Hafiz Muhammad Salman" userId="47f5b1ff-37b9-4dd0-a37a-3bc5aec52fa1" providerId="ADAL" clId="{1D0D03E3-3226-4873-A599-0FE1608CAE58}" dt="2024-09-16T08:13:35.115" v="4540" actId="478"/>
          <ac:spMkLst>
            <pc:docMk/>
            <pc:sldMk cId="1825176316" sldId="3309"/>
            <ac:spMk id="73" creationId="{01BDE9CF-8FD3-9C47-8381-61061A56BC58}"/>
          </ac:spMkLst>
        </pc:spChg>
        <pc:spChg chg="mod">
          <ac:chgData name="Hafiz Muhammad Salman" userId="47f5b1ff-37b9-4dd0-a37a-3bc5aec52fa1" providerId="ADAL" clId="{1D0D03E3-3226-4873-A599-0FE1608CAE58}" dt="2024-09-16T08:13:20.682" v="4536" actId="20577"/>
          <ac:spMkLst>
            <pc:docMk/>
            <pc:sldMk cId="1825176316" sldId="3309"/>
            <ac:spMk id="74" creationId="{B7C4CA7B-E789-924D-BFC6-159B0DB7F0BA}"/>
          </ac:spMkLst>
        </pc:spChg>
        <pc:spChg chg="del mod">
          <ac:chgData name="Hafiz Muhammad Salman" userId="47f5b1ff-37b9-4dd0-a37a-3bc5aec52fa1" providerId="ADAL" clId="{1D0D03E3-3226-4873-A599-0FE1608CAE58}" dt="2024-09-16T08:13:37.033" v="4541" actId="478"/>
          <ac:spMkLst>
            <pc:docMk/>
            <pc:sldMk cId="1825176316" sldId="3309"/>
            <ac:spMk id="75" creationId="{9C2358A4-6BB7-494E-BC08-4AA8535255F4}"/>
          </ac:spMkLst>
        </pc:spChg>
      </pc:sldChg>
      <pc:sldChg chg="del">
        <pc:chgData name="Hafiz Muhammad Salman" userId="47f5b1ff-37b9-4dd0-a37a-3bc5aec52fa1" providerId="ADAL" clId="{1D0D03E3-3226-4873-A599-0FE1608CAE58}" dt="2024-09-11T13:22:05.515" v="2608" actId="47"/>
        <pc:sldMkLst>
          <pc:docMk/>
          <pc:sldMk cId="1559507242" sldId="3311"/>
        </pc:sldMkLst>
      </pc:sldChg>
      <pc:sldChg chg="modSp del mod">
        <pc:chgData name="Hafiz Muhammad Salman" userId="47f5b1ff-37b9-4dd0-a37a-3bc5aec52fa1" providerId="ADAL" clId="{1D0D03E3-3226-4873-A599-0FE1608CAE58}" dt="2024-09-16T08:16:26.524" v="4673" actId="47"/>
        <pc:sldMkLst>
          <pc:docMk/>
          <pc:sldMk cId="1994417310" sldId="3312"/>
        </pc:sldMkLst>
        <pc:spChg chg="mod">
          <ac:chgData name="Hafiz Muhammad Salman" userId="47f5b1ff-37b9-4dd0-a37a-3bc5aec52fa1" providerId="ADAL" clId="{1D0D03E3-3226-4873-A599-0FE1608CAE58}" dt="2024-09-16T08:10:10.766" v="4280" actId="790"/>
          <ac:spMkLst>
            <pc:docMk/>
            <pc:sldMk cId="1994417310" sldId="3312"/>
            <ac:spMk id="31" creationId="{ADB4C743-3AC8-5C47-BD24-1603030C0CD2}"/>
          </ac:spMkLst>
        </pc:spChg>
        <pc:spChg chg="mod">
          <ac:chgData name="Hafiz Muhammad Salman" userId="47f5b1ff-37b9-4dd0-a37a-3bc5aec52fa1" providerId="ADAL" clId="{1D0D03E3-3226-4873-A599-0FE1608CAE58}" dt="2024-09-16T08:10:10.768" v="4281" actId="790"/>
          <ac:spMkLst>
            <pc:docMk/>
            <pc:sldMk cId="1994417310" sldId="3312"/>
            <ac:spMk id="32" creationId="{B6163727-D406-754F-A5BB-9667055872F4}"/>
          </ac:spMkLst>
        </pc:spChg>
        <pc:spChg chg="mod">
          <ac:chgData name="Hafiz Muhammad Salman" userId="47f5b1ff-37b9-4dd0-a37a-3bc5aec52fa1" providerId="ADAL" clId="{1D0D03E3-3226-4873-A599-0FE1608CAE58}" dt="2024-09-16T08:10:10.769" v="4282" actId="790"/>
          <ac:spMkLst>
            <pc:docMk/>
            <pc:sldMk cId="1994417310" sldId="3312"/>
            <ac:spMk id="33" creationId="{0D50D4F8-2B5F-1346-9663-D24CEAAD8523}"/>
          </ac:spMkLst>
        </pc:spChg>
        <pc:spChg chg="mod">
          <ac:chgData name="Hafiz Muhammad Salman" userId="47f5b1ff-37b9-4dd0-a37a-3bc5aec52fa1" providerId="ADAL" clId="{1D0D03E3-3226-4873-A599-0FE1608CAE58}" dt="2024-09-16T08:10:10.770" v="4283" actId="790"/>
          <ac:spMkLst>
            <pc:docMk/>
            <pc:sldMk cId="1994417310" sldId="3312"/>
            <ac:spMk id="34" creationId="{EAF31318-494F-144C-85C8-161E90281C90}"/>
          </ac:spMkLst>
        </pc:spChg>
        <pc:spChg chg="mod">
          <ac:chgData name="Hafiz Muhammad Salman" userId="47f5b1ff-37b9-4dd0-a37a-3bc5aec52fa1" providerId="ADAL" clId="{1D0D03E3-3226-4873-A599-0FE1608CAE58}" dt="2024-09-16T08:10:10.771" v="4284" actId="790"/>
          <ac:spMkLst>
            <pc:docMk/>
            <pc:sldMk cId="1994417310" sldId="3312"/>
            <ac:spMk id="35" creationId="{C3AC8BB1-665F-8440-8062-3C9B065EEA51}"/>
          </ac:spMkLst>
        </pc:spChg>
        <pc:spChg chg="mod">
          <ac:chgData name="Hafiz Muhammad Salman" userId="47f5b1ff-37b9-4dd0-a37a-3bc5aec52fa1" providerId="ADAL" clId="{1D0D03E3-3226-4873-A599-0FE1608CAE58}" dt="2024-09-16T08:10:10.775" v="4285" actId="790"/>
          <ac:spMkLst>
            <pc:docMk/>
            <pc:sldMk cId="1994417310" sldId="3312"/>
            <ac:spMk id="37" creationId="{53A62410-F8F1-8E40-B564-537AB6E35CB2}"/>
          </ac:spMkLst>
        </pc:spChg>
        <pc:spChg chg="mod">
          <ac:chgData name="Hafiz Muhammad Salman" userId="47f5b1ff-37b9-4dd0-a37a-3bc5aec52fa1" providerId="ADAL" clId="{1D0D03E3-3226-4873-A599-0FE1608CAE58}" dt="2024-09-16T08:10:10.778" v="4286" actId="790"/>
          <ac:spMkLst>
            <pc:docMk/>
            <pc:sldMk cId="1994417310" sldId="3312"/>
            <ac:spMk id="38" creationId="{058E080C-BA30-CF44-91F3-D80DE0602BD7}"/>
          </ac:spMkLst>
        </pc:spChg>
        <pc:spChg chg="mod">
          <ac:chgData name="Hafiz Muhammad Salman" userId="47f5b1ff-37b9-4dd0-a37a-3bc5aec52fa1" providerId="ADAL" clId="{1D0D03E3-3226-4873-A599-0FE1608CAE58}" dt="2024-09-16T08:10:10.780" v="4287" actId="790"/>
          <ac:spMkLst>
            <pc:docMk/>
            <pc:sldMk cId="1994417310" sldId="3312"/>
            <ac:spMk id="39" creationId="{664DFBF6-E24D-E14E-A03F-ECB523ED2EF9}"/>
          </ac:spMkLst>
        </pc:spChg>
        <pc:spChg chg="mod">
          <ac:chgData name="Hafiz Muhammad Salman" userId="47f5b1ff-37b9-4dd0-a37a-3bc5aec52fa1" providerId="ADAL" clId="{1D0D03E3-3226-4873-A599-0FE1608CAE58}" dt="2024-09-16T08:10:10.781" v="4288" actId="790"/>
          <ac:spMkLst>
            <pc:docMk/>
            <pc:sldMk cId="1994417310" sldId="3312"/>
            <ac:spMk id="40" creationId="{009821D3-F720-194E-B1C2-265494321A0E}"/>
          </ac:spMkLst>
        </pc:spChg>
        <pc:spChg chg="mod">
          <ac:chgData name="Hafiz Muhammad Salman" userId="47f5b1ff-37b9-4dd0-a37a-3bc5aec52fa1" providerId="ADAL" clId="{1D0D03E3-3226-4873-A599-0FE1608CAE58}" dt="2024-09-16T08:10:10.782" v="4289" actId="790"/>
          <ac:spMkLst>
            <pc:docMk/>
            <pc:sldMk cId="1994417310" sldId="3312"/>
            <ac:spMk id="41" creationId="{DEF3C3D9-8DD3-EF4E-843C-BD1E25D8F2AA}"/>
          </ac:spMkLst>
        </pc:spChg>
        <pc:spChg chg="mod">
          <ac:chgData name="Hafiz Muhammad Salman" userId="47f5b1ff-37b9-4dd0-a37a-3bc5aec52fa1" providerId="ADAL" clId="{1D0D03E3-3226-4873-A599-0FE1608CAE58}" dt="2024-09-16T08:10:10.784" v="4290" actId="790"/>
          <ac:spMkLst>
            <pc:docMk/>
            <pc:sldMk cId="1994417310" sldId="3312"/>
            <ac:spMk id="42" creationId="{DF66F18C-458B-4A41-9A93-4BF1B3FD778C}"/>
          </ac:spMkLst>
        </pc:spChg>
      </pc:sldChg>
      <pc:sldChg chg="modSp del mod">
        <pc:chgData name="Hafiz Muhammad Salman" userId="47f5b1ff-37b9-4dd0-a37a-3bc5aec52fa1" providerId="ADAL" clId="{1D0D03E3-3226-4873-A599-0FE1608CAE58}" dt="2024-09-11T12:53:55.622" v="2234" actId="47"/>
        <pc:sldMkLst>
          <pc:docMk/>
          <pc:sldMk cId="1659047631" sldId="3314"/>
        </pc:sldMkLst>
        <pc:spChg chg="mod">
          <ac:chgData name="Hafiz Muhammad Salman" userId="47f5b1ff-37b9-4dd0-a37a-3bc5aec52fa1" providerId="ADAL" clId="{1D0D03E3-3226-4873-A599-0FE1608CAE58}" dt="2024-09-10T15:29:37.375" v="164" actId="790"/>
          <ac:spMkLst>
            <pc:docMk/>
            <pc:sldMk cId="1659047631" sldId="3314"/>
            <ac:spMk id="7" creationId="{061424C6-5C07-6947-89EB-CB4C49E10879}"/>
          </ac:spMkLst>
        </pc:spChg>
        <pc:spChg chg="mod">
          <ac:chgData name="Hafiz Muhammad Salman" userId="47f5b1ff-37b9-4dd0-a37a-3bc5aec52fa1" providerId="ADAL" clId="{1D0D03E3-3226-4873-A599-0FE1608CAE58}" dt="2024-09-10T15:29:37.375" v="165" actId="790"/>
          <ac:spMkLst>
            <pc:docMk/>
            <pc:sldMk cId="1659047631" sldId="3314"/>
            <ac:spMk id="8" creationId="{FAB6B366-4DAB-8747-9523-9AACBDEB0F2B}"/>
          </ac:spMkLst>
        </pc:spChg>
        <pc:spChg chg="mod">
          <ac:chgData name="Hafiz Muhammad Salman" userId="47f5b1ff-37b9-4dd0-a37a-3bc5aec52fa1" providerId="ADAL" clId="{1D0D03E3-3226-4873-A599-0FE1608CAE58}" dt="2024-09-10T15:29:37.376" v="166" actId="790"/>
          <ac:spMkLst>
            <pc:docMk/>
            <pc:sldMk cId="1659047631" sldId="3314"/>
            <ac:spMk id="9" creationId="{C74DFF98-72E9-2945-BB53-2142BEA9088F}"/>
          </ac:spMkLst>
        </pc:spChg>
        <pc:spChg chg="mod">
          <ac:chgData name="Hafiz Muhammad Salman" userId="47f5b1ff-37b9-4dd0-a37a-3bc5aec52fa1" providerId="ADAL" clId="{1D0D03E3-3226-4873-A599-0FE1608CAE58}" dt="2024-09-10T15:29:37.378" v="167" actId="790"/>
          <ac:spMkLst>
            <pc:docMk/>
            <pc:sldMk cId="1659047631" sldId="3314"/>
            <ac:spMk id="10" creationId="{9FDC0121-B4A2-3440-875A-E49C7D757080}"/>
          </ac:spMkLst>
        </pc:spChg>
        <pc:spChg chg="mod">
          <ac:chgData name="Hafiz Muhammad Salman" userId="47f5b1ff-37b9-4dd0-a37a-3bc5aec52fa1" providerId="ADAL" clId="{1D0D03E3-3226-4873-A599-0FE1608CAE58}" dt="2024-09-10T15:29:37.380" v="168" actId="790"/>
          <ac:spMkLst>
            <pc:docMk/>
            <pc:sldMk cId="1659047631" sldId="3314"/>
            <ac:spMk id="12" creationId="{ADE12A9A-2743-2549-BF75-A676A038825F}"/>
          </ac:spMkLst>
        </pc:spChg>
        <pc:spChg chg="mod">
          <ac:chgData name="Hafiz Muhammad Salman" userId="47f5b1ff-37b9-4dd0-a37a-3bc5aec52fa1" providerId="ADAL" clId="{1D0D03E3-3226-4873-A599-0FE1608CAE58}" dt="2024-09-10T15:29:37.381" v="169" actId="790"/>
          <ac:spMkLst>
            <pc:docMk/>
            <pc:sldMk cId="1659047631" sldId="3314"/>
            <ac:spMk id="13" creationId="{2C8EA664-333D-3E47-B2DE-7A590FAAE65D}"/>
          </ac:spMkLst>
        </pc:spChg>
        <pc:spChg chg="mod">
          <ac:chgData name="Hafiz Muhammad Salman" userId="47f5b1ff-37b9-4dd0-a37a-3bc5aec52fa1" providerId="ADAL" clId="{1D0D03E3-3226-4873-A599-0FE1608CAE58}" dt="2024-09-10T15:29:37.381" v="170" actId="790"/>
          <ac:spMkLst>
            <pc:docMk/>
            <pc:sldMk cId="1659047631" sldId="3314"/>
            <ac:spMk id="14" creationId="{00B31986-96A1-0942-9A92-032626F78B7F}"/>
          </ac:spMkLst>
        </pc:spChg>
        <pc:spChg chg="mod">
          <ac:chgData name="Hafiz Muhammad Salman" userId="47f5b1ff-37b9-4dd0-a37a-3bc5aec52fa1" providerId="ADAL" clId="{1D0D03E3-3226-4873-A599-0FE1608CAE58}" dt="2024-09-10T15:29:37.382" v="171" actId="790"/>
          <ac:spMkLst>
            <pc:docMk/>
            <pc:sldMk cId="1659047631" sldId="3314"/>
            <ac:spMk id="15" creationId="{98B93A58-51F3-424D-913E-284E3A31E21F}"/>
          </ac:spMkLst>
        </pc:spChg>
        <pc:spChg chg="mod">
          <ac:chgData name="Hafiz Muhammad Salman" userId="47f5b1ff-37b9-4dd0-a37a-3bc5aec52fa1" providerId="ADAL" clId="{1D0D03E3-3226-4873-A599-0FE1608CAE58}" dt="2024-09-10T15:29:37.383" v="172" actId="790"/>
          <ac:spMkLst>
            <pc:docMk/>
            <pc:sldMk cId="1659047631" sldId="3314"/>
            <ac:spMk id="16" creationId="{CA64AA0C-8E4A-C746-B373-464296B727EF}"/>
          </ac:spMkLst>
        </pc:spChg>
        <pc:spChg chg="mod">
          <ac:chgData name="Hafiz Muhammad Salman" userId="47f5b1ff-37b9-4dd0-a37a-3bc5aec52fa1" providerId="ADAL" clId="{1D0D03E3-3226-4873-A599-0FE1608CAE58}" dt="2024-09-10T15:29:37.385" v="173" actId="790"/>
          <ac:spMkLst>
            <pc:docMk/>
            <pc:sldMk cId="1659047631" sldId="3314"/>
            <ac:spMk id="17" creationId="{F312A8FF-F4E3-1B4E-8F5D-87AEAA692187}"/>
          </ac:spMkLst>
        </pc:spChg>
        <pc:spChg chg="mod">
          <ac:chgData name="Hafiz Muhammad Salman" userId="47f5b1ff-37b9-4dd0-a37a-3bc5aec52fa1" providerId="ADAL" clId="{1D0D03E3-3226-4873-A599-0FE1608CAE58}" dt="2024-09-10T15:29:37.386" v="174" actId="790"/>
          <ac:spMkLst>
            <pc:docMk/>
            <pc:sldMk cId="1659047631" sldId="3314"/>
            <ac:spMk id="18" creationId="{EDF42D56-72EF-1942-B2C0-2D7D4BE3B595}"/>
          </ac:spMkLst>
        </pc:spChg>
        <pc:spChg chg="mod">
          <ac:chgData name="Hafiz Muhammad Salman" userId="47f5b1ff-37b9-4dd0-a37a-3bc5aec52fa1" providerId="ADAL" clId="{1D0D03E3-3226-4873-A599-0FE1608CAE58}" dt="2024-09-10T15:29:37.387" v="175" actId="790"/>
          <ac:spMkLst>
            <pc:docMk/>
            <pc:sldMk cId="1659047631" sldId="3314"/>
            <ac:spMk id="19" creationId="{94C47058-7D31-AD40-B3D5-077265DCC75B}"/>
          </ac:spMkLst>
        </pc:spChg>
        <pc:spChg chg="mod">
          <ac:chgData name="Hafiz Muhammad Salman" userId="47f5b1ff-37b9-4dd0-a37a-3bc5aec52fa1" providerId="ADAL" clId="{1D0D03E3-3226-4873-A599-0FE1608CAE58}" dt="2024-09-10T15:29:37.388" v="176" actId="790"/>
          <ac:spMkLst>
            <pc:docMk/>
            <pc:sldMk cId="1659047631" sldId="3314"/>
            <ac:spMk id="20" creationId="{7F5631D5-DA08-2F4F-82B0-F77376258521}"/>
          </ac:spMkLst>
        </pc:spChg>
        <pc:spChg chg="mod">
          <ac:chgData name="Hafiz Muhammad Salman" userId="47f5b1ff-37b9-4dd0-a37a-3bc5aec52fa1" providerId="ADAL" clId="{1D0D03E3-3226-4873-A599-0FE1608CAE58}" dt="2024-09-10T15:29:37.389" v="177" actId="790"/>
          <ac:spMkLst>
            <pc:docMk/>
            <pc:sldMk cId="1659047631" sldId="3314"/>
            <ac:spMk id="21" creationId="{02BAE96B-CFB3-CE45-A670-92C5A7E066B7}"/>
          </ac:spMkLst>
        </pc:spChg>
      </pc:sldChg>
      <pc:sldChg chg="del">
        <pc:chgData name="Hafiz Muhammad Salman" userId="47f5b1ff-37b9-4dd0-a37a-3bc5aec52fa1" providerId="ADAL" clId="{1D0D03E3-3226-4873-A599-0FE1608CAE58}" dt="2024-09-11T13:21:00.066" v="2587" actId="47"/>
        <pc:sldMkLst>
          <pc:docMk/>
          <pc:sldMk cId="869027973" sldId="3316"/>
        </pc:sldMkLst>
      </pc:sldChg>
      <pc:sldChg chg="del">
        <pc:chgData name="Hafiz Muhammad Salman" userId="47f5b1ff-37b9-4dd0-a37a-3bc5aec52fa1" providerId="ADAL" clId="{1D0D03E3-3226-4873-A599-0FE1608CAE58}" dt="2024-09-11T11:23:52.920" v="1609" actId="2696"/>
        <pc:sldMkLst>
          <pc:docMk/>
          <pc:sldMk cId="4100759428" sldId="3317"/>
        </pc:sldMkLst>
      </pc:sldChg>
      <pc:sldChg chg="del">
        <pc:chgData name="Hafiz Muhammad Salman" userId="47f5b1ff-37b9-4dd0-a37a-3bc5aec52fa1" providerId="ADAL" clId="{1D0D03E3-3226-4873-A599-0FE1608CAE58}" dt="2024-09-11T11:23:52.920" v="1609" actId="2696"/>
        <pc:sldMkLst>
          <pc:docMk/>
          <pc:sldMk cId="3994735645" sldId="3318"/>
        </pc:sldMkLst>
      </pc:sldChg>
      <pc:sldChg chg="del">
        <pc:chgData name="Hafiz Muhammad Salman" userId="47f5b1ff-37b9-4dd0-a37a-3bc5aec52fa1" providerId="ADAL" clId="{1D0D03E3-3226-4873-A599-0FE1608CAE58}" dt="2024-09-11T13:21:57.395" v="2605" actId="47"/>
        <pc:sldMkLst>
          <pc:docMk/>
          <pc:sldMk cId="3423706984" sldId="3319"/>
        </pc:sldMkLst>
      </pc:sldChg>
      <pc:sldChg chg="del">
        <pc:chgData name="Hafiz Muhammad Salman" userId="47f5b1ff-37b9-4dd0-a37a-3bc5aec52fa1" providerId="ADAL" clId="{1D0D03E3-3226-4873-A599-0FE1608CAE58}" dt="2024-09-11T13:21:59.397" v="2606" actId="47"/>
        <pc:sldMkLst>
          <pc:docMk/>
          <pc:sldMk cId="3181490176" sldId="3320"/>
        </pc:sldMkLst>
      </pc:sldChg>
      <pc:sldChg chg="del">
        <pc:chgData name="Hafiz Muhammad Salman" userId="47f5b1ff-37b9-4dd0-a37a-3bc5aec52fa1" providerId="ADAL" clId="{1D0D03E3-3226-4873-A599-0FE1608CAE58}" dt="2024-09-11T11:23:52.920" v="1609" actId="2696"/>
        <pc:sldMkLst>
          <pc:docMk/>
          <pc:sldMk cId="3553890937" sldId="3322"/>
        </pc:sldMkLst>
      </pc:sldChg>
      <pc:sldChg chg="del">
        <pc:chgData name="Hafiz Muhammad Salman" userId="47f5b1ff-37b9-4dd0-a37a-3bc5aec52fa1" providerId="ADAL" clId="{1D0D03E3-3226-4873-A599-0FE1608CAE58}" dt="2024-09-11T13:21:54.640" v="2603" actId="47"/>
        <pc:sldMkLst>
          <pc:docMk/>
          <pc:sldMk cId="362339429" sldId="3323"/>
        </pc:sldMkLst>
      </pc:sldChg>
      <pc:sldChg chg="delSp modSp del mod">
        <pc:chgData name="Hafiz Muhammad Salman" userId="47f5b1ff-37b9-4dd0-a37a-3bc5aec52fa1" providerId="ADAL" clId="{1D0D03E3-3226-4873-A599-0FE1608CAE58}" dt="2024-09-18T21:22:58.226" v="5629" actId="2696"/>
        <pc:sldMkLst>
          <pc:docMk/>
          <pc:sldMk cId="3281039282" sldId="3323"/>
        </pc:sldMkLst>
        <pc:spChg chg="mod">
          <ac:chgData name="Hafiz Muhammad Salman" userId="47f5b1ff-37b9-4dd0-a37a-3bc5aec52fa1" providerId="ADAL" clId="{1D0D03E3-3226-4873-A599-0FE1608CAE58}" dt="2024-09-16T08:11:05.778" v="4453" actId="20577"/>
          <ac:spMkLst>
            <pc:docMk/>
            <pc:sldMk cId="3281039282" sldId="3323"/>
            <ac:spMk id="2" creationId="{E882F0D3-A7B1-4154-ABEE-4C43DDF6B7B5}"/>
          </ac:spMkLst>
        </pc:spChg>
        <pc:spChg chg="mod">
          <ac:chgData name="Hafiz Muhammad Salman" userId="47f5b1ff-37b9-4dd0-a37a-3bc5aec52fa1" providerId="ADAL" clId="{1D0D03E3-3226-4873-A599-0FE1608CAE58}" dt="2024-09-16T08:10:12.973" v="4331" actId="790"/>
          <ac:spMkLst>
            <pc:docMk/>
            <pc:sldMk cId="3281039282" sldId="3323"/>
            <ac:spMk id="4" creationId="{BC61BD74-E575-4047-B24B-B707CDED4010}"/>
          </ac:spMkLst>
        </pc:spChg>
        <pc:spChg chg="mod">
          <ac:chgData name="Hafiz Muhammad Salman" userId="47f5b1ff-37b9-4dd0-a37a-3bc5aec52fa1" providerId="ADAL" clId="{1D0D03E3-3226-4873-A599-0FE1608CAE58}" dt="2024-09-16T08:10:12.975" v="4333" actId="790"/>
          <ac:spMkLst>
            <pc:docMk/>
            <pc:sldMk cId="3281039282" sldId="3323"/>
            <ac:spMk id="25" creationId="{690FAB92-A634-EF44-BC32-4209C05252C0}"/>
          </ac:spMkLst>
        </pc:spChg>
        <pc:spChg chg="mod">
          <ac:chgData name="Hafiz Muhammad Salman" userId="47f5b1ff-37b9-4dd0-a37a-3bc5aec52fa1" providerId="ADAL" clId="{1D0D03E3-3226-4873-A599-0FE1608CAE58}" dt="2024-09-16T08:10:12.979" v="4335" actId="790"/>
          <ac:spMkLst>
            <pc:docMk/>
            <pc:sldMk cId="3281039282" sldId="3323"/>
            <ac:spMk id="33" creationId="{07752DFD-962F-D947-B1CA-E97E99B5E051}"/>
          </ac:spMkLst>
        </pc:spChg>
        <pc:spChg chg="mod">
          <ac:chgData name="Hafiz Muhammad Salman" userId="47f5b1ff-37b9-4dd0-a37a-3bc5aec52fa1" providerId="ADAL" clId="{1D0D03E3-3226-4873-A599-0FE1608CAE58}" dt="2024-09-16T08:11:23.537" v="4479" actId="20577"/>
          <ac:spMkLst>
            <pc:docMk/>
            <pc:sldMk cId="3281039282" sldId="3323"/>
            <ac:spMk id="48" creationId="{60428BFC-D95E-594A-B633-0FA671EED610}"/>
          </ac:spMkLst>
        </pc:spChg>
        <pc:spChg chg="del mod">
          <ac:chgData name="Hafiz Muhammad Salman" userId="47f5b1ff-37b9-4dd0-a37a-3bc5aec52fa1" providerId="ADAL" clId="{1D0D03E3-3226-4873-A599-0FE1608CAE58}" dt="2024-09-16T08:12:02.889" v="4497" actId="478"/>
          <ac:spMkLst>
            <pc:docMk/>
            <pc:sldMk cId="3281039282" sldId="3323"/>
            <ac:spMk id="49" creationId="{01CC5E08-ED6B-CC49-B0E9-ED4EA807D663}"/>
          </ac:spMkLst>
        </pc:spChg>
        <pc:spChg chg="mod">
          <ac:chgData name="Hafiz Muhammad Salman" userId="47f5b1ff-37b9-4dd0-a37a-3bc5aec52fa1" providerId="ADAL" clId="{1D0D03E3-3226-4873-A599-0FE1608CAE58}" dt="2024-09-18T13:58:01.739" v="5077" actId="20577"/>
          <ac:spMkLst>
            <pc:docMk/>
            <pc:sldMk cId="3281039282" sldId="3323"/>
            <ac:spMk id="50" creationId="{55FBDA75-E999-CD49-A4E4-7853DBFD0611}"/>
          </ac:spMkLst>
        </pc:spChg>
        <pc:spChg chg="del mod">
          <ac:chgData name="Hafiz Muhammad Salman" userId="47f5b1ff-37b9-4dd0-a37a-3bc5aec52fa1" providerId="ADAL" clId="{1D0D03E3-3226-4873-A599-0FE1608CAE58}" dt="2024-09-16T08:12:05.684" v="4499" actId="478"/>
          <ac:spMkLst>
            <pc:docMk/>
            <pc:sldMk cId="3281039282" sldId="3323"/>
            <ac:spMk id="51" creationId="{0A56A098-59B6-7E46-9CA1-B09D242F56DA}"/>
          </ac:spMkLst>
        </pc:spChg>
        <pc:spChg chg="mod">
          <ac:chgData name="Hafiz Muhammad Salman" userId="47f5b1ff-37b9-4dd0-a37a-3bc5aec52fa1" providerId="ADAL" clId="{1D0D03E3-3226-4873-A599-0FE1608CAE58}" dt="2024-09-16T08:11:29.362" v="4483" actId="20577"/>
          <ac:spMkLst>
            <pc:docMk/>
            <pc:sldMk cId="3281039282" sldId="3323"/>
            <ac:spMk id="52" creationId="{16057492-56A9-854D-9C40-6A4F8169B888}"/>
          </ac:spMkLst>
        </pc:spChg>
        <pc:spChg chg="del mod">
          <ac:chgData name="Hafiz Muhammad Salman" userId="47f5b1ff-37b9-4dd0-a37a-3bc5aec52fa1" providerId="ADAL" clId="{1D0D03E3-3226-4873-A599-0FE1608CAE58}" dt="2024-09-16T08:12:00.348" v="4496" actId="478"/>
          <ac:spMkLst>
            <pc:docMk/>
            <pc:sldMk cId="3281039282" sldId="3323"/>
            <ac:spMk id="53" creationId="{A5832755-8126-E547-AD86-C5CBB7A77872}"/>
          </ac:spMkLst>
        </pc:spChg>
        <pc:spChg chg="mod">
          <ac:chgData name="Hafiz Muhammad Salman" userId="47f5b1ff-37b9-4dd0-a37a-3bc5aec52fa1" providerId="ADAL" clId="{1D0D03E3-3226-4873-A599-0FE1608CAE58}" dt="2024-09-16T08:11:15.193" v="4470" actId="20577"/>
          <ac:spMkLst>
            <pc:docMk/>
            <pc:sldMk cId="3281039282" sldId="3323"/>
            <ac:spMk id="54" creationId="{20BAD37D-0E80-054E-BBC7-66B2D888CDC4}"/>
          </ac:spMkLst>
        </pc:spChg>
        <pc:spChg chg="del mod">
          <ac:chgData name="Hafiz Muhammad Salman" userId="47f5b1ff-37b9-4dd0-a37a-3bc5aec52fa1" providerId="ADAL" clId="{1D0D03E3-3226-4873-A599-0FE1608CAE58}" dt="2024-09-16T08:11:55.147" v="4495" actId="478"/>
          <ac:spMkLst>
            <pc:docMk/>
            <pc:sldMk cId="3281039282" sldId="3323"/>
            <ac:spMk id="55" creationId="{03F7C3F6-CC79-DE4F-8AF2-0215F43F03D2}"/>
          </ac:spMkLst>
        </pc:spChg>
        <pc:spChg chg="mod">
          <ac:chgData name="Hafiz Muhammad Salman" userId="47f5b1ff-37b9-4dd0-a37a-3bc5aec52fa1" providerId="ADAL" clId="{1D0D03E3-3226-4873-A599-0FE1608CAE58}" dt="2024-09-16T08:10:12.972" v="4330" actId="790"/>
          <ac:spMkLst>
            <pc:docMk/>
            <pc:sldMk cId="3281039282" sldId="3323"/>
            <ac:spMk id="59" creationId="{55D3976F-1BFA-BB4E-817B-D4A18214EE50}"/>
          </ac:spMkLst>
        </pc:spChg>
        <pc:spChg chg="mod">
          <ac:chgData name="Hafiz Muhammad Salman" userId="47f5b1ff-37b9-4dd0-a37a-3bc5aec52fa1" providerId="ADAL" clId="{1D0D03E3-3226-4873-A599-0FE1608CAE58}" dt="2024-09-16T08:10:12.974" v="4332" actId="790"/>
          <ac:spMkLst>
            <pc:docMk/>
            <pc:sldMk cId="3281039282" sldId="3323"/>
            <ac:spMk id="60" creationId="{1F43C98E-21D6-2C4B-AAE3-771599C955E0}"/>
          </ac:spMkLst>
        </pc:spChg>
        <pc:spChg chg="mod">
          <ac:chgData name="Hafiz Muhammad Salman" userId="47f5b1ff-37b9-4dd0-a37a-3bc5aec52fa1" providerId="ADAL" clId="{1D0D03E3-3226-4873-A599-0FE1608CAE58}" dt="2024-09-16T08:10:12.980" v="4336" actId="790"/>
          <ac:spMkLst>
            <pc:docMk/>
            <pc:sldMk cId="3281039282" sldId="3323"/>
            <ac:spMk id="62" creationId="{5412741E-903D-EF42-A423-87B64B018E62}"/>
          </ac:spMkLst>
        </pc:spChg>
        <pc:spChg chg="mod">
          <ac:chgData name="Hafiz Muhammad Salman" userId="47f5b1ff-37b9-4dd0-a37a-3bc5aec52fa1" providerId="ADAL" clId="{1D0D03E3-3226-4873-A599-0FE1608CAE58}" dt="2024-09-16T08:10:12.976" v="4334" actId="790"/>
          <ac:spMkLst>
            <pc:docMk/>
            <pc:sldMk cId="3281039282" sldId="3323"/>
            <ac:spMk id="63" creationId="{C950612B-A7AD-5C48-AFD3-2FDE31F0E156}"/>
          </ac:spMkLst>
        </pc:spChg>
      </pc:sldChg>
      <pc:sldChg chg="del">
        <pc:chgData name="Hafiz Muhammad Salman" userId="47f5b1ff-37b9-4dd0-a37a-3bc5aec52fa1" providerId="ADAL" clId="{1D0D03E3-3226-4873-A599-0FE1608CAE58}" dt="2024-09-11T13:22:00.429" v="2607" actId="47"/>
        <pc:sldMkLst>
          <pc:docMk/>
          <pc:sldMk cId="1229733350" sldId="3324"/>
        </pc:sldMkLst>
      </pc:sldChg>
      <pc:sldChg chg="modSp del mod">
        <pc:chgData name="Hafiz Muhammad Salman" userId="47f5b1ff-37b9-4dd0-a37a-3bc5aec52fa1" providerId="ADAL" clId="{1D0D03E3-3226-4873-A599-0FE1608CAE58}" dt="2024-09-11T13:19:50.571" v="2569" actId="47"/>
        <pc:sldMkLst>
          <pc:docMk/>
          <pc:sldMk cId="1554298023" sldId="3325"/>
        </pc:sldMkLst>
        <pc:spChg chg="mod">
          <ac:chgData name="Hafiz Muhammad Salman" userId="47f5b1ff-37b9-4dd0-a37a-3bc5aec52fa1" providerId="ADAL" clId="{1D0D03E3-3226-4873-A599-0FE1608CAE58}" dt="2024-09-10T14:49:47.701" v="22" actId="790"/>
          <ac:spMkLst>
            <pc:docMk/>
            <pc:sldMk cId="1554298023" sldId="3325"/>
            <ac:spMk id="4" creationId="{10C26546-258E-C04A-A594-37F3A904BF1E}"/>
          </ac:spMkLst>
        </pc:spChg>
        <pc:spChg chg="mod">
          <ac:chgData name="Hafiz Muhammad Salman" userId="47f5b1ff-37b9-4dd0-a37a-3bc5aec52fa1" providerId="ADAL" clId="{1D0D03E3-3226-4873-A599-0FE1608CAE58}" dt="2024-09-10T14:49:47.701" v="21" actId="790"/>
          <ac:spMkLst>
            <pc:docMk/>
            <pc:sldMk cId="1554298023" sldId="3325"/>
            <ac:spMk id="5" creationId="{544F676E-8FC1-9D40-B5A8-9966A1AC71E8}"/>
          </ac:spMkLst>
        </pc:spChg>
        <pc:spChg chg="mod">
          <ac:chgData name="Hafiz Muhammad Salman" userId="47f5b1ff-37b9-4dd0-a37a-3bc5aec52fa1" providerId="ADAL" clId="{1D0D03E3-3226-4873-A599-0FE1608CAE58}" dt="2024-09-10T14:49:47.701" v="23" actId="790"/>
          <ac:spMkLst>
            <pc:docMk/>
            <pc:sldMk cId="1554298023" sldId="3325"/>
            <ac:spMk id="8" creationId="{8B9D5890-11B3-D54C-9967-6698972B9F85}"/>
          </ac:spMkLst>
        </pc:spChg>
        <pc:spChg chg="mod">
          <ac:chgData name="Hafiz Muhammad Salman" userId="47f5b1ff-37b9-4dd0-a37a-3bc5aec52fa1" providerId="ADAL" clId="{1D0D03E3-3226-4873-A599-0FE1608CAE58}" dt="2024-09-10T14:49:47.701" v="24" actId="790"/>
          <ac:spMkLst>
            <pc:docMk/>
            <pc:sldMk cId="1554298023" sldId="3325"/>
            <ac:spMk id="9" creationId="{9BEAD383-77B4-C943-B14E-8504ADA51005}"/>
          </ac:spMkLst>
        </pc:spChg>
        <pc:spChg chg="mod">
          <ac:chgData name="Hafiz Muhammad Salman" userId="47f5b1ff-37b9-4dd0-a37a-3bc5aec52fa1" providerId="ADAL" clId="{1D0D03E3-3226-4873-A599-0FE1608CAE58}" dt="2024-09-10T14:49:47.701" v="25" actId="790"/>
          <ac:spMkLst>
            <pc:docMk/>
            <pc:sldMk cId="1554298023" sldId="3325"/>
            <ac:spMk id="14" creationId="{512FEB1E-705F-A842-8649-BFF60DE4E76B}"/>
          </ac:spMkLst>
        </pc:spChg>
        <pc:spChg chg="mod">
          <ac:chgData name="Hafiz Muhammad Salman" userId="47f5b1ff-37b9-4dd0-a37a-3bc5aec52fa1" providerId="ADAL" clId="{1D0D03E3-3226-4873-A599-0FE1608CAE58}" dt="2024-09-10T14:49:47.701" v="26" actId="790"/>
          <ac:spMkLst>
            <pc:docMk/>
            <pc:sldMk cId="1554298023" sldId="3325"/>
            <ac:spMk id="15" creationId="{28690DC4-6D52-6948-9382-46D4A8AA9DBA}"/>
          </ac:spMkLst>
        </pc:spChg>
        <pc:spChg chg="mod">
          <ac:chgData name="Hafiz Muhammad Salman" userId="47f5b1ff-37b9-4dd0-a37a-3bc5aec52fa1" providerId="ADAL" clId="{1D0D03E3-3226-4873-A599-0FE1608CAE58}" dt="2024-09-10T14:49:47.701" v="27" actId="790"/>
          <ac:spMkLst>
            <pc:docMk/>
            <pc:sldMk cId="1554298023" sldId="3325"/>
            <ac:spMk id="17" creationId="{089E7EDD-7431-7D4B-8A3D-418867972382}"/>
          </ac:spMkLst>
        </pc:spChg>
        <pc:spChg chg="mod">
          <ac:chgData name="Hafiz Muhammad Salman" userId="47f5b1ff-37b9-4dd0-a37a-3bc5aec52fa1" providerId="ADAL" clId="{1D0D03E3-3226-4873-A599-0FE1608CAE58}" dt="2024-09-10T14:49:47.701" v="28" actId="790"/>
          <ac:spMkLst>
            <pc:docMk/>
            <pc:sldMk cId="1554298023" sldId="3325"/>
            <ac:spMk id="18" creationId="{5F567625-C121-1343-90E8-A033936E70FD}"/>
          </ac:spMkLst>
        </pc:spChg>
        <pc:spChg chg="mod">
          <ac:chgData name="Hafiz Muhammad Salman" userId="47f5b1ff-37b9-4dd0-a37a-3bc5aec52fa1" providerId="ADAL" clId="{1D0D03E3-3226-4873-A599-0FE1608CAE58}" dt="2024-09-10T14:49:47.717" v="29" actId="790"/>
          <ac:spMkLst>
            <pc:docMk/>
            <pc:sldMk cId="1554298023" sldId="3325"/>
            <ac:spMk id="23" creationId="{9A6799B5-93D0-C545-B512-93D742D5E4D6}"/>
          </ac:spMkLst>
        </pc:spChg>
        <pc:spChg chg="mod">
          <ac:chgData name="Hafiz Muhammad Salman" userId="47f5b1ff-37b9-4dd0-a37a-3bc5aec52fa1" providerId="ADAL" clId="{1D0D03E3-3226-4873-A599-0FE1608CAE58}" dt="2024-09-10T14:49:47.717" v="30" actId="790"/>
          <ac:spMkLst>
            <pc:docMk/>
            <pc:sldMk cId="1554298023" sldId="3325"/>
            <ac:spMk id="24" creationId="{6A6B4948-95C2-B947-82A1-222905FA3788}"/>
          </ac:spMkLst>
        </pc:spChg>
        <pc:spChg chg="mod">
          <ac:chgData name="Hafiz Muhammad Salman" userId="47f5b1ff-37b9-4dd0-a37a-3bc5aec52fa1" providerId="ADAL" clId="{1D0D03E3-3226-4873-A599-0FE1608CAE58}" dt="2024-09-10T14:49:47.717" v="31" actId="790"/>
          <ac:spMkLst>
            <pc:docMk/>
            <pc:sldMk cId="1554298023" sldId="3325"/>
            <ac:spMk id="25" creationId="{30CA7742-427B-B944-BA1C-208288E4A981}"/>
          </ac:spMkLst>
        </pc:spChg>
        <pc:spChg chg="mod">
          <ac:chgData name="Hafiz Muhammad Salman" userId="47f5b1ff-37b9-4dd0-a37a-3bc5aec52fa1" providerId="ADAL" clId="{1D0D03E3-3226-4873-A599-0FE1608CAE58}" dt="2024-09-10T14:49:47.717" v="32" actId="790"/>
          <ac:spMkLst>
            <pc:docMk/>
            <pc:sldMk cId="1554298023" sldId="3325"/>
            <ac:spMk id="26" creationId="{F1F7FB99-FFC1-174C-953C-2A55658D8DA0}"/>
          </ac:spMkLst>
        </pc:spChg>
        <pc:spChg chg="mod">
          <ac:chgData name="Hafiz Muhammad Salman" userId="47f5b1ff-37b9-4dd0-a37a-3bc5aec52fa1" providerId="ADAL" clId="{1D0D03E3-3226-4873-A599-0FE1608CAE58}" dt="2024-09-10T14:49:47.717" v="33" actId="790"/>
          <ac:spMkLst>
            <pc:docMk/>
            <pc:sldMk cId="1554298023" sldId="3325"/>
            <ac:spMk id="27" creationId="{AE17EFE1-C778-494C-BA5B-1D4969BAE1AE}"/>
          </ac:spMkLst>
        </pc:spChg>
        <pc:spChg chg="mod">
          <ac:chgData name="Hafiz Muhammad Salman" userId="47f5b1ff-37b9-4dd0-a37a-3bc5aec52fa1" providerId="ADAL" clId="{1D0D03E3-3226-4873-A599-0FE1608CAE58}" dt="2024-09-10T14:49:47.717" v="34" actId="790"/>
          <ac:spMkLst>
            <pc:docMk/>
            <pc:sldMk cId="1554298023" sldId="3325"/>
            <ac:spMk id="28" creationId="{6A79B700-D532-B94C-BB50-532F296EBD95}"/>
          </ac:spMkLst>
        </pc:spChg>
        <pc:spChg chg="mod">
          <ac:chgData name="Hafiz Muhammad Salman" userId="47f5b1ff-37b9-4dd0-a37a-3bc5aec52fa1" providerId="ADAL" clId="{1D0D03E3-3226-4873-A599-0FE1608CAE58}" dt="2024-09-10T14:49:47.717" v="35" actId="790"/>
          <ac:spMkLst>
            <pc:docMk/>
            <pc:sldMk cId="1554298023" sldId="3325"/>
            <ac:spMk id="31" creationId="{B2607F04-059F-3A49-8CF6-FCB38392AA4F}"/>
          </ac:spMkLst>
        </pc:spChg>
        <pc:spChg chg="mod">
          <ac:chgData name="Hafiz Muhammad Salman" userId="47f5b1ff-37b9-4dd0-a37a-3bc5aec52fa1" providerId="ADAL" clId="{1D0D03E3-3226-4873-A599-0FE1608CAE58}" dt="2024-09-10T14:49:47.717" v="36" actId="790"/>
          <ac:spMkLst>
            <pc:docMk/>
            <pc:sldMk cId="1554298023" sldId="3325"/>
            <ac:spMk id="32" creationId="{684FC335-F01E-9C46-8F57-C1F9AF06885A}"/>
          </ac:spMkLst>
        </pc:spChg>
        <pc:spChg chg="mod">
          <ac:chgData name="Hafiz Muhammad Salman" userId="47f5b1ff-37b9-4dd0-a37a-3bc5aec52fa1" providerId="ADAL" clId="{1D0D03E3-3226-4873-A599-0FE1608CAE58}" dt="2024-09-10T14:49:47.717" v="37" actId="790"/>
          <ac:spMkLst>
            <pc:docMk/>
            <pc:sldMk cId="1554298023" sldId="3325"/>
            <ac:spMk id="34" creationId="{51F16773-78A9-A943-924C-18B41DD777D0}"/>
          </ac:spMkLst>
        </pc:spChg>
        <pc:spChg chg="mod">
          <ac:chgData name="Hafiz Muhammad Salman" userId="47f5b1ff-37b9-4dd0-a37a-3bc5aec52fa1" providerId="ADAL" clId="{1D0D03E3-3226-4873-A599-0FE1608CAE58}" dt="2024-09-10T14:49:47.717" v="38" actId="790"/>
          <ac:spMkLst>
            <pc:docMk/>
            <pc:sldMk cId="1554298023" sldId="3325"/>
            <ac:spMk id="35" creationId="{B01C9C6B-1C94-874C-84CD-B0626C2E31C7}"/>
          </ac:spMkLst>
        </pc:spChg>
        <pc:spChg chg="mod">
          <ac:chgData name="Hafiz Muhammad Salman" userId="47f5b1ff-37b9-4dd0-a37a-3bc5aec52fa1" providerId="ADAL" clId="{1D0D03E3-3226-4873-A599-0FE1608CAE58}" dt="2024-09-10T14:49:47.717" v="39" actId="790"/>
          <ac:spMkLst>
            <pc:docMk/>
            <pc:sldMk cId="1554298023" sldId="3325"/>
            <ac:spMk id="37" creationId="{5AD25854-E369-0E4F-B62E-61C5F331E7DE}"/>
          </ac:spMkLst>
        </pc:spChg>
        <pc:spChg chg="mod">
          <ac:chgData name="Hafiz Muhammad Salman" userId="47f5b1ff-37b9-4dd0-a37a-3bc5aec52fa1" providerId="ADAL" clId="{1D0D03E3-3226-4873-A599-0FE1608CAE58}" dt="2024-09-10T14:49:47.717" v="40" actId="790"/>
          <ac:spMkLst>
            <pc:docMk/>
            <pc:sldMk cId="1554298023" sldId="3325"/>
            <ac:spMk id="38" creationId="{7DA0BDDC-763A-304F-9B9B-E446EAF8238B}"/>
          </ac:spMkLst>
        </pc:spChg>
      </pc:sldChg>
      <pc:sldChg chg="del">
        <pc:chgData name="Hafiz Muhammad Salman" userId="47f5b1ff-37b9-4dd0-a37a-3bc5aec52fa1" providerId="ADAL" clId="{1D0D03E3-3226-4873-A599-0FE1608CAE58}" dt="2024-09-11T13:21:49.829" v="2599" actId="47"/>
        <pc:sldMkLst>
          <pc:docMk/>
          <pc:sldMk cId="3576972477" sldId="3326"/>
        </pc:sldMkLst>
      </pc:sldChg>
      <pc:sldChg chg="del">
        <pc:chgData name="Hafiz Muhammad Salman" userId="47f5b1ff-37b9-4dd0-a37a-3bc5aec52fa1" providerId="ADAL" clId="{1D0D03E3-3226-4873-A599-0FE1608CAE58}" dt="2024-09-11T13:20:50.584" v="2585" actId="47"/>
        <pc:sldMkLst>
          <pc:docMk/>
          <pc:sldMk cId="1301873093" sldId="3327"/>
        </pc:sldMkLst>
      </pc:sldChg>
      <pc:sldChg chg="modSp del mod">
        <pc:chgData name="Hafiz Muhammad Salman" userId="47f5b1ff-37b9-4dd0-a37a-3bc5aec52fa1" providerId="ADAL" clId="{1D0D03E3-3226-4873-A599-0FE1608CAE58}" dt="2024-09-16T08:13:50.704" v="4543" actId="47"/>
        <pc:sldMkLst>
          <pc:docMk/>
          <pc:sldMk cId="2825834412" sldId="3331"/>
        </pc:sldMkLst>
        <pc:spChg chg="mod">
          <ac:chgData name="Hafiz Muhammad Salman" userId="47f5b1ff-37b9-4dd0-a37a-3bc5aec52fa1" providerId="ADAL" clId="{1D0D03E3-3226-4873-A599-0FE1608CAE58}" dt="2024-09-16T08:10:12.437" v="4318" actId="790"/>
          <ac:spMkLst>
            <pc:docMk/>
            <pc:sldMk cId="2825834412" sldId="3331"/>
            <ac:spMk id="2" creationId="{F7181A96-4AB4-B844-A36B-D9BB1876B0E2}"/>
          </ac:spMkLst>
        </pc:spChg>
        <pc:spChg chg="mod">
          <ac:chgData name="Hafiz Muhammad Salman" userId="47f5b1ff-37b9-4dd0-a37a-3bc5aec52fa1" providerId="ADAL" clId="{1D0D03E3-3226-4873-A599-0FE1608CAE58}" dt="2024-09-16T08:10:12.438" v="4319" actId="790"/>
          <ac:spMkLst>
            <pc:docMk/>
            <pc:sldMk cId="2825834412" sldId="3331"/>
            <ac:spMk id="4" creationId="{B0DFE194-B578-CE40-BA7C-5CBF94D91515}"/>
          </ac:spMkLst>
        </pc:spChg>
        <pc:spChg chg="mod">
          <ac:chgData name="Hafiz Muhammad Salman" userId="47f5b1ff-37b9-4dd0-a37a-3bc5aec52fa1" providerId="ADAL" clId="{1D0D03E3-3226-4873-A599-0FE1608CAE58}" dt="2024-09-16T08:10:12.439" v="4320" actId="790"/>
          <ac:spMkLst>
            <pc:docMk/>
            <pc:sldMk cId="2825834412" sldId="3331"/>
            <ac:spMk id="5" creationId="{6F8BA5E7-8C1A-F041-B9E6-7B97AB560CB8}"/>
          </ac:spMkLst>
        </pc:spChg>
        <pc:spChg chg="mod">
          <ac:chgData name="Hafiz Muhammad Salman" userId="47f5b1ff-37b9-4dd0-a37a-3bc5aec52fa1" providerId="ADAL" clId="{1D0D03E3-3226-4873-A599-0FE1608CAE58}" dt="2024-09-16T08:10:12.440" v="4321" actId="790"/>
          <ac:spMkLst>
            <pc:docMk/>
            <pc:sldMk cId="2825834412" sldId="3331"/>
            <ac:spMk id="6" creationId="{DBC7B6B1-69D7-DD47-9875-8ED632EFA6A3}"/>
          </ac:spMkLst>
        </pc:spChg>
        <pc:spChg chg="mod">
          <ac:chgData name="Hafiz Muhammad Salman" userId="47f5b1ff-37b9-4dd0-a37a-3bc5aec52fa1" providerId="ADAL" clId="{1D0D03E3-3226-4873-A599-0FE1608CAE58}" dt="2024-09-16T08:10:12.441" v="4322" actId="790"/>
          <ac:spMkLst>
            <pc:docMk/>
            <pc:sldMk cId="2825834412" sldId="3331"/>
            <ac:spMk id="7" creationId="{ED933665-7088-C442-AAB7-466370C6AA96}"/>
          </ac:spMkLst>
        </pc:spChg>
        <pc:spChg chg="mod">
          <ac:chgData name="Hafiz Muhammad Salman" userId="47f5b1ff-37b9-4dd0-a37a-3bc5aec52fa1" providerId="ADAL" clId="{1D0D03E3-3226-4873-A599-0FE1608CAE58}" dt="2024-09-16T08:10:12.442" v="4323" actId="790"/>
          <ac:spMkLst>
            <pc:docMk/>
            <pc:sldMk cId="2825834412" sldId="3331"/>
            <ac:spMk id="8" creationId="{22342678-649D-0448-9AF1-7B336EAE0D28}"/>
          </ac:spMkLst>
        </pc:spChg>
        <pc:spChg chg="mod">
          <ac:chgData name="Hafiz Muhammad Salman" userId="47f5b1ff-37b9-4dd0-a37a-3bc5aec52fa1" providerId="ADAL" clId="{1D0D03E3-3226-4873-A599-0FE1608CAE58}" dt="2024-09-16T08:10:12.443" v="4324" actId="790"/>
          <ac:spMkLst>
            <pc:docMk/>
            <pc:sldMk cId="2825834412" sldId="3331"/>
            <ac:spMk id="10" creationId="{6508BB29-BDEE-FF47-A6B6-D4C956A5C93A}"/>
          </ac:spMkLst>
        </pc:spChg>
        <pc:spChg chg="mod">
          <ac:chgData name="Hafiz Muhammad Salman" userId="47f5b1ff-37b9-4dd0-a37a-3bc5aec52fa1" providerId="ADAL" clId="{1D0D03E3-3226-4873-A599-0FE1608CAE58}" dt="2024-09-16T08:10:12.444" v="4325" actId="790"/>
          <ac:spMkLst>
            <pc:docMk/>
            <pc:sldMk cId="2825834412" sldId="3331"/>
            <ac:spMk id="11" creationId="{F8A3B00E-81B3-D942-92EB-3075D8F32092}"/>
          </ac:spMkLst>
        </pc:spChg>
        <pc:spChg chg="mod">
          <ac:chgData name="Hafiz Muhammad Salman" userId="47f5b1ff-37b9-4dd0-a37a-3bc5aec52fa1" providerId="ADAL" clId="{1D0D03E3-3226-4873-A599-0FE1608CAE58}" dt="2024-09-16T08:10:12.445" v="4326" actId="790"/>
          <ac:spMkLst>
            <pc:docMk/>
            <pc:sldMk cId="2825834412" sldId="3331"/>
            <ac:spMk id="12" creationId="{36389C53-9CD9-1A44-AC09-74756BE3B039}"/>
          </ac:spMkLst>
        </pc:spChg>
        <pc:spChg chg="mod">
          <ac:chgData name="Hafiz Muhammad Salman" userId="47f5b1ff-37b9-4dd0-a37a-3bc5aec52fa1" providerId="ADAL" clId="{1D0D03E3-3226-4873-A599-0FE1608CAE58}" dt="2024-09-16T08:10:12.447" v="4327" actId="790"/>
          <ac:spMkLst>
            <pc:docMk/>
            <pc:sldMk cId="2825834412" sldId="3331"/>
            <ac:spMk id="13" creationId="{0DAAE6B9-F068-9B43-81ED-6786E4017AA7}"/>
          </ac:spMkLst>
        </pc:spChg>
        <pc:spChg chg="mod">
          <ac:chgData name="Hafiz Muhammad Salman" userId="47f5b1ff-37b9-4dd0-a37a-3bc5aec52fa1" providerId="ADAL" clId="{1D0D03E3-3226-4873-A599-0FE1608CAE58}" dt="2024-09-16T08:10:12.448" v="4328" actId="790"/>
          <ac:spMkLst>
            <pc:docMk/>
            <pc:sldMk cId="2825834412" sldId="3331"/>
            <ac:spMk id="14" creationId="{71EE85D1-4902-5A43-A489-6C72BA1A2C75}"/>
          </ac:spMkLst>
        </pc:spChg>
        <pc:spChg chg="mod">
          <ac:chgData name="Hafiz Muhammad Salman" userId="47f5b1ff-37b9-4dd0-a37a-3bc5aec52fa1" providerId="ADAL" clId="{1D0D03E3-3226-4873-A599-0FE1608CAE58}" dt="2024-09-16T08:10:12.449" v="4329" actId="790"/>
          <ac:spMkLst>
            <pc:docMk/>
            <pc:sldMk cId="2825834412" sldId="3331"/>
            <ac:spMk id="15" creationId="{7B3ADEEC-E2F0-5F43-8074-71489754D8A8}"/>
          </ac:spMkLst>
        </pc:spChg>
      </pc:sldChg>
      <pc:sldChg chg="modSp del mod">
        <pc:chgData name="Hafiz Muhammad Salman" userId="47f5b1ff-37b9-4dd0-a37a-3bc5aec52fa1" providerId="ADAL" clId="{1D0D03E3-3226-4873-A599-0FE1608CAE58}" dt="2024-09-11T12:53:48.195" v="2231" actId="47"/>
        <pc:sldMkLst>
          <pc:docMk/>
          <pc:sldMk cId="4015879894" sldId="3331"/>
        </pc:sldMkLst>
        <pc:spChg chg="mod">
          <ac:chgData name="Hafiz Muhammad Salman" userId="47f5b1ff-37b9-4dd0-a37a-3bc5aec52fa1" providerId="ADAL" clId="{1D0D03E3-3226-4873-A599-0FE1608CAE58}" dt="2024-09-11T12:39:18.170" v="1861" actId="790"/>
          <ac:spMkLst>
            <pc:docMk/>
            <pc:sldMk cId="4015879894" sldId="3331"/>
            <ac:spMk id="11" creationId="{BA71B04D-C0E9-884F-BA2E-4FC498DF92FB}"/>
          </ac:spMkLst>
        </pc:spChg>
        <pc:spChg chg="mod">
          <ac:chgData name="Hafiz Muhammad Salman" userId="47f5b1ff-37b9-4dd0-a37a-3bc5aec52fa1" providerId="ADAL" clId="{1D0D03E3-3226-4873-A599-0FE1608CAE58}" dt="2024-09-11T12:39:18.170" v="1862" actId="790"/>
          <ac:spMkLst>
            <pc:docMk/>
            <pc:sldMk cId="4015879894" sldId="3331"/>
            <ac:spMk id="13" creationId="{E45B1086-6CB7-504B-954F-E5D14289A7DD}"/>
          </ac:spMkLst>
        </pc:spChg>
        <pc:spChg chg="mod">
          <ac:chgData name="Hafiz Muhammad Salman" userId="47f5b1ff-37b9-4dd0-a37a-3bc5aec52fa1" providerId="ADAL" clId="{1D0D03E3-3226-4873-A599-0FE1608CAE58}" dt="2024-09-11T12:39:18.170" v="1863" actId="790"/>
          <ac:spMkLst>
            <pc:docMk/>
            <pc:sldMk cId="4015879894" sldId="3331"/>
            <ac:spMk id="15" creationId="{903F9220-079B-5C4C-95B4-AD33BA460B64}"/>
          </ac:spMkLst>
        </pc:spChg>
        <pc:spChg chg="mod">
          <ac:chgData name="Hafiz Muhammad Salman" userId="47f5b1ff-37b9-4dd0-a37a-3bc5aec52fa1" providerId="ADAL" clId="{1D0D03E3-3226-4873-A599-0FE1608CAE58}" dt="2024-09-11T12:39:18.170" v="1864" actId="790"/>
          <ac:spMkLst>
            <pc:docMk/>
            <pc:sldMk cId="4015879894" sldId="3331"/>
            <ac:spMk id="17" creationId="{FA66E378-CD6A-0948-B1D4-63D473C9A24B}"/>
          </ac:spMkLst>
        </pc:spChg>
        <pc:spChg chg="mod">
          <ac:chgData name="Hafiz Muhammad Salman" userId="47f5b1ff-37b9-4dd0-a37a-3bc5aec52fa1" providerId="ADAL" clId="{1D0D03E3-3226-4873-A599-0FE1608CAE58}" dt="2024-09-11T12:39:18.170" v="1865" actId="790"/>
          <ac:spMkLst>
            <pc:docMk/>
            <pc:sldMk cId="4015879894" sldId="3331"/>
            <ac:spMk id="19" creationId="{FEFEDC5D-F461-E540-8755-A6D75893B7A3}"/>
          </ac:spMkLst>
        </pc:spChg>
        <pc:spChg chg="mod">
          <ac:chgData name="Hafiz Muhammad Salman" userId="47f5b1ff-37b9-4dd0-a37a-3bc5aec52fa1" providerId="ADAL" clId="{1D0D03E3-3226-4873-A599-0FE1608CAE58}" dt="2024-09-11T12:39:18.170" v="1866" actId="790"/>
          <ac:spMkLst>
            <pc:docMk/>
            <pc:sldMk cId="4015879894" sldId="3331"/>
            <ac:spMk id="21" creationId="{5F12FC2D-8A19-784C-8381-367769E2C812}"/>
          </ac:spMkLst>
        </pc:spChg>
        <pc:spChg chg="mod">
          <ac:chgData name="Hafiz Muhammad Salman" userId="47f5b1ff-37b9-4dd0-a37a-3bc5aec52fa1" providerId="ADAL" clId="{1D0D03E3-3226-4873-A599-0FE1608CAE58}" dt="2024-09-11T12:39:18.170" v="1867" actId="790"/>
          <ac:spMkLst>
            <pc:docMk/>
            <pc:sldMk cId="4015879894" sldId="3331"/>
            <ac:spMk id="22" creationId="{3FEAF8F2-BF47-6940-BCE4-FBF88F873C8E}"/>
          </ac:spMkLst>
        </pc:spChg>
        <pc:spChg chg="mod">
          <ac:chgData name="Hafiz Muhammad Salman" userId="47f5b1ff-37b9-4dd0-a37a-3bc5aec52fa1" providerId="ADAL" clId="{1D0D03E3-3226-4873-A599-0FE1608CAE58}" dt="2024-09-11T12:39:18.170" v="1868" actId="790"/>
          <ac:spMkLst>
            <pc:docMk/>
            <pc:sldMk cId="4015879894" sldId="3331"/>
            <ac:spMk id="23" creationId="{DC53ADDE-229C-5E4A-BF85-96F9F476F56C}"/>
          </ac:spMkLst>
        </pc:spChg>
        <pc:spChg chg="mod">
          <ac:chgData name="Hafiz Muhammad Salman" userId="47f5b1ff-37b9-4dd0-a37a-3bc5aec52fa1" providerId="ADAL" clId="{1D0D03E3-3226-4873-A599-0FE1608CAE58}" dt="2024-09-11T12:39:18.170" v="1869" actId="790"/>
          <ac:spMkLst>
            <pc:docMk/>
            <pc:sldMk cId="4015879894" sldId="3331"/>
            <ac:spMk id="24" creationId="{0F1AA4CA-DB89-444F-BDE8-3E047703B57C}"/>
          </ac:spMkLst>
        </pc:spChg>
        <pc:spChg chg="mod">
          <ac:chgData name="Hafiz Muhammad Salman" userId="47f5b1ff-37b9-4dd0-a37a-3bc5aec52fa1" providerId="ADAL" clId="{1D0D03E3-3226-4873-A599-0FE1608CAE58}" dt="2024-09-11T12:39:18.170" v="1870" actId="790"/>
          <ac:spMkLst>
            <pc:docMk/>
            <pc:sldMk cId="4015879894" sldId="3331"/>
            <ac:spMk id="25" creationId="{FB378DDF-AD72-5543-AC55-AA663F0D7D77}"/>
          </ac:spMkLst>
        </pc:spChg>
        <pc:spChg chg="mod">
          <ac:chgData name="Hafiz Muhammad Salman" userId="47f5b1ff-37b9-4dd0-a37a-3bc5aec52fa1" providerId="ADAL" clId="{1D0D03E3-3226-4873-A599-0FE1608CAE58}" dt="2024-09-11T12:39:18.185" v="1871" actId="790"/>
          <ac:spMkLst>
            <pc:docMk/>
            <pc:sldMk cId="4015879894" sldId="3331"/>
            <ac:spMk id="26" creationId="{5C2F17EE-8538-EA44-BA60-16891DA3B778}"/>
          </ac:spMkLst>
        </pc:spChg>
        <pc:spChg chg="mod">
          <ac:chgData name="Hafiz Muhammad Salman" userId="47f5b1ff-37b9-4dd0-a37a-3bc5aec52fa1" providerId="ADAL" clId="{1D0D03E3-3226-4873-A599-0FE1608CAE58}" dt="2024-09-11T12:39:18.185" v="1872" actId="790"/>
          <ac:spMkLst>
            <pc:docMk/>
            <pc:sldMk cId="4015879894" sldId="3331"/>
            <ac:spMk id="27" creationId="{EABD69A2-25D3-EA4E-9512-52BDFFA4DB3D}"/>
          </ac:spMkLst>
        </pc:spChg>
        <pc:spChg chg="mod">
          <ac:chgData name="Hafiz Muhammad Salman" userId="47f5b1ff-37b9-4dd0-a37a-3bc5aec52fa1" providerId="ADAL" clId="{1D0D03E3-3226-4873-A599-0FE1608CAE58}" dt="2024-09-11T12:39:18.185" v="1873" actId="790"/>
          <ac:spMkLst>
            <pc:docMk/>
            <pc:sldMk cId="4015879894" sldId="3331"/>
            <ac:spMk id="28" creationId="{3F4D0A6F-3416-C34C-AE03-B31C2DE2DF83}"/>
          </ac:spMkLst>
        </pc:spChg>
        <pc:spChg chg="mod">
          <ac:chgData name="Hafiz Muhammad Salman" userId="47f5b1ff-37b9-4dd0-a37a-3bc5aec52fa1" providerId="ADAL" clId="{1D0D03E3-3226-4873-A599-0FE1608CAE58}" dt="2024-09-11T12:39:18.185" v="1874" actId="790"/>
          <ac:spMkLst>
            <pc:docMk/>
            <pc:sldMk cId="4015879894" sldId="3331"/>
            <ac:spMk id="29" creationId="{45174AFC-D2A7-1E41-8109-57096A5933E7}"/>
          </ac:spMkLst>
        </pc:spChg>
        <pc:spChg chg="mod">
          <ac:chgData name="Hafiz Muhammad Salman" userId="47f5b1ff-37b9-4dd0-a37a-3bc5aec52fa1" providerId="ADAL" clId="{1D0D03E3-3226-4873-A599-0FE1608CAE58}" dt="2024-09-11T12:39:18.185" v="1875" actId="790"/>
          <ac:spMkLst>
            <pc:docMk/>
            <pc:sldMk cId="4015879894" sldId="3331"/>
            <ac:spMk id="30" creationId="{AB2BD387-23DF-1741-AA72-EF29EF550292}"/>
          </ac:spMkLst>
        </pc:spChg>
        <pc:spChg chg="mod">
          <ac:chgData name="Hafiz Muhammad Salman" userId="47f5b1ff-37b9-4dd0-a37a-3bc5aec52fa1" providerId="ADAL" clId="{1D0D03E3-3226-4873-A599-0FE1608CAE58}" dt="2024-09-11T12:39:18.185" v="1876" actId="790"/>
          <ac:spMkLst>
            <pc:docMk/>
            <pc:sldMk cId="4015879894" sldId="3331"/>
            <ac:spMk id="31" creationId="{7986BA9D-8954-4944-BC9E-ACB21AC4610C}"/>
          </ac:spMkLst>
        </pc:spChg>
        <pc:spChg chg="mod">
          <ac:chgData name="Hafiz Muhammad Salman" userId="47f5b1ff-37b9-4dd0-a37a-3bc5aec52fa1" providerId="ADAL" clId="{1D0D03E3-3226-4873-A599-0FE1608CAE58}" dt="2024-09-11T12:39:18.185" v="1877" actId="790"/>
          <ac:spMkLst>
            <pc:docMk/>
            <pc:sldMk cId="4015879894" sldId="3331"/>
            <ac:spMk id="32" creationId="{196240F3-DED3-564A-9331-0BA09459AE43}"/>
          </ac:spMkLst>
        </pc:spChg>
        <pc:spChg chg="mod">
          <ac:chgData name="Hafiz Muhammad Salman" userId="47f5b1ff-37b9-4dd0-a37a-3bc5aec52fa1" providerId="ADAL" clId="{1D0D03E3-3226-4873-A599-0FE1608CAE58}" dt="2024-09-11T12:39:18.185" v="1878" actId="790"/>
          <ac:spMkLst>
            <pc:docMk/>
            <pc:sldMk cId="4015879894" sldId="3331"/>
            <ac:spMk id="33" creationId="{02B14E21-7BF0-C441-AFFE-3A7C6F281783}"/>
          </ac:spMkLst>
        </pc:spChg>
        <pc:spChg chg="mod">
          <ac:chgData name="Hafiz Muhammad Salman" userId="47f5b1ff-37b9-4dd0-a37a-3bc5aec52fa1" providerId="ADAL" clId="{1D0D03E3-3226-4873-A599-0FE1608CAE58}" dt="2024-09-11T12:39:42.791" v="1908" actId="20577"/>
          <ac:spMkLst>
            <pc:docMk/>
            <pc:sldMk cId="4015879894" sldId="3331"/>
            <ac:spMk id="35" creationId="{0F9E31A3-E0D8-2A46-8532-3307A3E71066}"/>
          </ac:spMkLst>
        </pc:spChg>
        <pc:spChg chg="mod">
          <ac:chgData name="Hafiz Muhammad Salman" userId="47f5b1ff-37b9-4dd0-a37a-3bc5aec52fa1" providerId="ADAL" clId="{1D0D03E3-3226-4873-A599-0FE1608CAE58}" dt="2024-09-11T12:39:18.185" v="1880" actId="790"/>
          <ac:spMkLst>
            <pc:docMk/>
            <pc:sldMk cId="4015879894" sldId="3331"/>
            <ac:spMk id="36" creationId="{AFBE3816-88BA-1B42-8478-AC7DBC961F4E}"/>
          </ac:spMkLst>
        </pc:spChg>
        <pc:spChg chg="mod">
          <ac:chgData name="Hafiz Muhammad Salman" userId="47f5b1ff-37b9-4dd0-a37a-3bc5aec52fa1" providerId="ADAL" clId="{1D0D03E3-3226-4873-A599-0FE1608CAE58}" dt="2024-09-11T12:39:18.201" v="1881" actId="790"/>
          <ac:spMkLst>
            <pc:docMk/>
            <pc:sldMk cId="4015879894" sldId="3331"/>
            <ac:spMk id="37" creationId="{DC2E7346-84DB-494A-9ACF-AB947D5155F5}"/>
          </ac:spMkLst>
        </pc:spChg>
        <pc:spChg chg="mod">
          <ac:chgData name="Hafiz Muhammad Salman" userId="47f5b1ff-37b9-4dd0-a37a-3bc5aec52fa1" providerId="ADAL" clId="{1D0D03E3-3226-4873-A599-0FE1608CAE58}" dt="2024-09-11T12:39:18.201" v="1882" actId="790"/>
          <ac:spMkLst>
            <pc:docMk/>
            <pc:sldMk cId="4015879894" sldId="3331"/>
            <ac:spMk id="38" creationId="{ADCC0CB6-AD67-8245-9247-2893DF6D5208}"/>
          </ac:spMkLst>
        </pc:spChg>
        <pc:spChg chg="mod">
          <ac:chgData name="Hafiz Muhammad Salman" userId="47f5b1ff-37b9-4dd0-a37a-3bc5aec52fa1" providerId="ADAL" clId="{1D0D03E3-3226-4873-A599-0FE1608CAE58}" dt="2024-09-11T12:39:18.201" v="1883" actId="790"/>
          <ac:spMkLst>
            <pc:docMk/>
            <pc:sldMk cId="4015879894" sldId="3331"/>
            <ac:spMk id="39" creationId="{D51E42E4-1180-B447-87C8-9A6AB759E595}"/>
          </ac:spMkLst>
        </pc:spChg>
        <pc:spChg chg="mod">
          <ac:chgData name="Hafiz Muhammad Salman" userId="47f5b1ff-37b9-4dd0-a37a-3bc5aec52fa1" providerId="ADAL" clId="{1D0D03E3-3226-4873-A599-0FE1608CAE58}" dt="2024-09-11T12:39:58.269" v="1932" actId="20577"/>
          <ac:spMkLst>
            <pc:docMk/>
            <pc:sldMk cId="4015879894" sldId="3331"/>
            <ac:spMk id="40" creationId="{E049CCE1-CBFA-CB43-973E-3BC10AACBA54}"/>
          </ac:spMkLst>
        </pc:spChg>
        <pc:spChg chg="mod">
          <ac:chgData name="Hafiz Muhammad Salman" userId="47f5b1ff-37b9-4dd0-a37a-3bc5aec52fa1" providerId="ADAL" clId="{1D0D03E3-3226-4873-A599-0FE1608CAE58}" dt="2024-09-11T12:39:18.201" v="1885" actId="790"/>
          <ac:spMkLst>
            <pc:docMk/>
            <pc:sldMk cId="4015879894" sldId="3331"/>
            <ac:spMk id="42" creationId="{715CADF2-8A38-0947-906C-EEC0D9E3FBA9}"/>
          </ac:spMkLst>
        </pc:spChg>
        <pc:spChg chg="mod">
          <ac:chgData name="Hafiz Muhammad Salman" userId="47f5b1ff-37b9-4dd0-a37a-3bc5aec52fa1" providerId="ADAL" clId="{1D0D03E3-3226-4873-A599-0FE1608CAE58}" dt="2024-09-11T12:39:18.201" v="1886" actId="790"/>
          <ac:spMkLst>
            <pc:docMk/>
            <pc:sldMk cId="4015879894" sldId="3331"/>
            <ac:spMk id="43" creationId="{DDE93B40-C2BE-0C49-9C5D-646C34728592}"/>
          </ac:spMkLst>
        </pc:spChg>
        <pc:spChg chg="mod">
          <ac:chgData name="Hafiz Muhammad Salman" userId="47f5b1ff-37b9-4dd0-a37a-3bc5aec52fa1" providerId="ADAL" clId="{1D0D03E3-3226-4873-A599-0FE1608CAE58}" dt="2024-09-11T12:39:18.201" v="1887" actId="790"/>
          <ac:spMkLst>
            <pc:docMk/>
            <pc:sldMk cId="4015879894" sldId="3331"/>
            <ac:spMk id="44" creationId="{768D717B-BC9C-5545-A851-39E89B2C9C50}"/>
          </ac:spMkLst>
        </pc:spChg>
        <pc:spChg chg="mod">
          <ac:chgData name="Hafiz Muhammad Salman" userId="47f5b1ff-37b9-4dd0-a37a-3bc5aec52fa1" providerId="ADAL" clId="{1D0D03E3-3226-4873-A599-0FE1608CAE58}" dt="2024-09-11T12:39:18.201" v="1888" actId="790"/>
          <ac:spMkLst>
            <pc:docMk/>
            <pc:sldMk cId="4015879894" sldId="3331"/>
            <ac:spMk id="45" creationId="{BA3AA05E-F411-BB40-8875-C59961423624}"/>
          </ac:spMkLst>
        </pc:spChg>
        <pc:spChg chg="mod">
          <ac:chgData name="Hafiz Muhammad Salman" userId="47f5b1ff-37b9-4dd0-a37a-3bc5aec52fa1" providerId="ADAL" clId="{1D0D03E3-3226-4873-A599-0FE1608CAE58}" dt="2024-09-11T12:39:18.201" v="1889" actId="790"/>
          <ac:spMkLst>
            <pc:docMk/>
            <pc:sldMk cId="4015879894" sldId="3331"/>
            <ac:spMk id="46" creationId="{D4A9DC42-0D17-9B47-9E17-14F5C1B860EC}"/>
          </ac:spMkLst>
        </pc:spChg>
        <pc:spChg chg="mod">
          <ac:chgData name="Hafiz Muhammad Salman" userId="47f5b1ff-37b9-4dd0-a37a-3bc5aec52fa1" providerId="ADAL" clId="{1D0D03E3-3226-4873-A599-0FE1608CAE58}" dt="2024-09-11T12:39:18.201" v="1890" actId="790"/>
          <ac:spMkLst>
            <pc:docMk/>
            <pc:sldMk cId="4015879894" sldId="3331"/>
            <ac:spMk id="47" creationId="{3F009EA1-3BEE-A946-87F9-93709C549DB0}"/>
          </ac:spMkLst>
        </pc:spChg>
        <pc:spChg chg="mod">
          <ac:chgData name="Hafiz Muhammad Salman" userId="47f5b1ff-37b9-4dd0-a37a-3bc5aec52fa1" providerId="ADAL" clId="{1D0D03E3-3226-4873-A599-0FE1608CAE58}" dt="2024-09-11T12:39:18.201" v="1891" actId="790"/>
          <ac:spMkLst>
            <pc:docMk/>
            <pc:sldMk cId="4015879894" sldId="3331"/>
            <ac:spMk id="48" creationId="{FF7BAA39-DF99-F340-B398-AF42351E61A1}"/>
          </ac:spMkLst>
        </pc:spChg>
        <pc:spChg chg="mod">
          <ac:chgData name="Hafiz Muhammad Salman" userId="47f5b1ff-37b9-4dd0-a37a-3bc5aec52fa1" providerId="ADAL" clId="{1D0D03E3-3226-4873-A599-0FE1608CAE58}" dt="2024-09-11T12:39:18.201" v="1892" actId="790"/>
          <ac:spMkLst>
            <pc:docMk/>
            <pc:sldMk cId="4015879894" sldId="3331"/>
            <ac:spMk id="49" creationId="{C1F848EB-3979-0242-9642-684FEEDC29F8}"/>
          </ac:spMkLst>
        </pc:spChg>
        <pc:spChg chg="mod">
          <ac:chgData name="Hafiz Muhammad Salman" userId="47f5b1ff-37b9-4dd0-a37a-3bc5aec52fa1" providerId="ADAL" clId="{1D0D03E3-3226-4873-A599-0FE1608CAE58}" dt="2024-09-11T12:39:18.201" v="1893" actId="790"/>
          <ac:spMkLst>
            <pc:docMk/>
            <pc:sldMk cId="4015879894" sldId="3331"/>
            <ac:spMk id="50" creationId="{763EB678-5EE0-8941-AF03-F10A19DFD0D6}"/>
          </ac:spMkLst>
        </pc:spChg>
        <pc:spChg chg="mod">
          <ac:chgData name="Hafiz Muhammad Salman" userId="47f5b1ff-37b9-4dd0-a37a-3bc5aec52fa1" providerId="ADAL" clId="{1D0D03E3-3226-4873-A599-0FE1608CAE58}" dt="2024-09-11T12:39:18.201" v="1894" actId="790"/>
          <ac:spMkLst>
            <pc:docMk/>
            <pc:sldMk cId="4015879894" sldId="3331"/>
            <ac:spMk id="51" creationId="{7AD742E0-DC32-2A47-A286-E46248F564A1}"/>
          </ac:spMkLst>
        </pc:spChg>
        <pc:spChg chg="mod">
          <ac:chgData name="Hafiz Muhammad Salman" userId="47f5b1ff-37b9-4dd0-a37a-3bc5aec52fa1" providerId="ADAL" clId="{1D0D03E3-3226-4873-A599-0FE1608CAE58}" dt="2024-09-11T12:39:18.201" v="1895" actId="790"/>
          <ac:spMkLst>
            <pc:docMk/>
            <pc:sldMk cId="4015879894" sldId="3331"/>
            <ac:spMk id="52" creationId="{511AF586-9FD7-3F49-99D3-3B5DE967E714}"/>
          </ac:spMkLst>
        </pc:spChg>
        <pc:spChg chg="mod">
          <ac:chgData name="Hafiz Muhammad Salman" userId="47f5b1ff-37b9-4dd0-a37a-3bc5aec52fa1" providerId="ADAL" clId="{1D0D03E3-3226-4873-A599-0FE1608CAE58}" dt="2024-09-11T12:39:18.201" v="1896" actId="790"/>
          <ac:spMkLst>
            <pc:docMk/>
            <pc:sldMk cId="4015879894" sldId="3331"/>
            <ac:spMk id="53" creationId="{DCCB3629-A7C9-4348-BA34-57628EDD8B40}"/>
          </ac:spMkLst>
        </pc:spChg>
      </pc:sldChg>
      <pc:sldChg chg="delSp modSp del mod">
        <pc:chgData name="Hafiz Muhammad Salman" userId="47f5b1ff-37b9-4dd0-a37a-3bc5aec52fa1" providerId="ADAL" clId="{1D0D03E3-3226-4873-A599-0FE1608CAE58}" dt="2024-09-16T08:15:32.263" v="4634" actId="47"/>
        <pc:sldMkLst>
          <pc:docMk/>
          <pc:sldMk cId="2525939772" sldId="3332"/>
        </pc:sldMkLst>
        <pc:spChg chg="mod">
          <ac:chgData name="Hafiz Muhammad Salman" userId="47f5b1ff-37b9-4dd0-a37a-3bc5aec52fa1" providerId="ADAL" clId="{1D0D03E3-3226-4873-A599-0FE1608CAE58}" dt="2024-09-16T08:10:12.057" v="4305" actId="790"/>
          <ac:spMkLst>
            <pc:docMk/>
            <pc:sldMk cId="2525939772" sldId="3332"/>
            <ac:spMk id="5" creationId="{183F5495-81D5-4542-AB02-063B6C458986}"/>
          </ac:spMkLst>
        </pc:spChg>
        <pc:spChg chg="mod">
          <ac:chgData name="Hafiz Muhammad Salman" userId="47f5b1ff-37b9-4dd0-a37a-3bc5aec52fa1" providerId="ADAL" clId="{1D0D03E3-3226-4873-A599-0FE1608CAE58}" dt="2024-09-16T08:15:29.267" v="4633" actId="1037"/>
          <ac:spMkLst>
            <pc:docMk/>
            <pc:sldMk cId="2525939772" sldId="3332"/>
            <ac:spMk id="6" creationId="{77666366-56BB-8C4B-9664-6CC904ACC679}"/>
          </ac:spMkLst>
        </pc:spChg>
        <pc:spChg chg="mod">
          <ac:chgData name="Hafiz Muhammad Salman" userId="47f5b1ff-37b9-4dd0-a37a-3bc5aec52fa1" providerId="ADAL" clId="{1D0D03E3-3226-4873-A599-0FE1608CAE58}" dt="2024-09-16T08:10:12.060" v="4307" actId="790"/>
          <ac:spMkLst>
            <pc:docMk/>
            <pc:sldMk cId="2525939772" sldId="3332"/>
            <ac:spMk id="7" creationId="{53E171B0-FE72-7940-87D0-46211EAB86A5}"/>
          </ac:spMkLst>
        </pc:spChg>
        <pc:spChg chg="mod">
          <ac:chgData name="Hafiz Muhammad Salman" userId="47f5b1ff-37b9-4dd0-a37a-3bc5aec52fa1" providerId="ADAL" clId="{1D0D03E3-3226-4873-A599-0FE1608CAE58}" dt="2024-09-16T08:10:12.060" v="4308" actId="790"/>
          <ac:spMkLst>
            <pc:docMk/>
            <pc:sldMk cId="2525939772" sldId="3332"/>
            <ac:spMk id="8" creationId="{F4629BEC-C75C-2F47-B52B-1EF39EB9F12C}"/>
          </ac:spMkLst>
        </pc:spChg>
        <pc:spChg chg="mod">
          <ac:chgData name="Hafiz Muhammad Salman" userId="47f5b1ff-37b9-4dd0-a37a-3bc5aec52fa1" providerId="ADAL" clId="{1D0D03E3-3226-4873-A599-0FE1608CAE58}" dt="2024-09-16T08:10:12.061" v="4309" actId="790"/>
          <ac:spMkLst>
            <pc:docMk/>
            <pc:sldMk cId="2525939772" sldId="3332"/>
            <ac:spMk id="9" creationId="{C3E6B8B4-FA8C-C44F-8388-D8B687F55FA3}"/>
          </ac:spMkLst>
        </pc:spChg>
        <pc:spChg chg="del mod">
          <ac:chgData name="Hafiz Muhammad Salman" userId="47f5b1ff-37b9-4dd0-a37a-3bc5aec52fa1" providerId="ADAL" clId="{1D0D03E3-3226-4873-A599-0FE1608CAE58}" dt="2024-09-16T08:15:00.696" v="4600" actId="478"/>
          <ac:spMkLst>
            <pc:docMk/>
            <pc:sldMk cId="2525939772" sldId="3332"/>
            <ac:spMk id="10" creationId="{CFF1611A-07F9-B742-9EF0-5603FA142574}"/>
          </ac:spMkLst>
        </pc:spChg>
        <pc:spChg chg="mod">
          <ac:chgData name="Hafiz Muhammad Salman" userId="47f5b1ff-37b9-4dd0-a37a-3bc5aec52fa1" providerId="ADAL" clId="{1D0D03E3-3226-4873-A599-0FE1608CAE58}" dt="2024-09-16T08:14:48.929" v="4599" actId="20577"/>
          <ac:spMkLst>
            <pc:docMk/>
            <pc:sldMk cId="2525939772" sldId="3332"/>
            <ac:spMk id="11" creationId="{B671AF22-7305-124C-A607-5D32C999D344}"/>
          </ac:spMkLst>
        </pc:spChg>
        <pc:spChg chg="mod">
          <ac:chgData name="Hafiz Muhammad Salman" userId="47f5b1ff-37b9-4dd0-a37a-3bc5aec52fa1" providerId="ADAL" clId="{1D0D03E3-3226-4873-A599-0FE1608CAE58}" dt="2024-09-16T08:14:44.217" v="4595" actId="20577"/>
          <ac:spMkLst>
            <pc:docMk/>
            <pc:sldMk cId="2525939772" sldId="3332"/>
            <ac:spMk id="12" creationId="{FDBC893F-0396-A846-B305-4E8CE908B83E}"/>
          </ac:spMkLst>
        </pc:spChg>
        <pc:spChg chg="del mod">
          <ac:chgData name="Hafiz Muhammad Salman" userId="47f5b1ff-37b9-4dd0-a37a-3bc5aec52fa1" providerId="ADAL" clId="{1D0D03E3-3226-4873-A599-0FE1608CAE58}" dt="2024-09-16T08:15:06.731" v="4602" actId="478"/>
          <ac:spMkLst>
            <pc:docMk/>
            <pc:sldMk cId="2525939772" sldId="3332"/>
            <ac:spMk id="13" creationId="{2DACA3C5-0E2D-0041-9DB4-D3947344D70F}"/>
          </ac:spMkLst>
        </pc:spChg>
        <pc:spChg chg="mod">
          <ac:chgData name="Hafiz Muhammad Salman" userId="47f5b1ff-37b9-4dd0-a37a-3bc5aec52fa1" providerId="ADAL" clId="{1D0D03E3-3226-4873-A599-0FE1608CAE58}" dt="2024-09-16T08:14:35.393" v="4588" actId="20577"/>
          <ac:spMkLst>
            <pc:docMk/>
            <pc:sldMk cId="2525939772" sldId="3332"/>
            <ac:spMk id="14" creationId="{9867788A-CCC9-8048-81DB-A7192E872D80}"/>
          </ac:spMkLst>
        </pc:spChg>
        <pc:spChg chg="mod">
          <ac:chgData name="Hafiz Muhammad Salman" userId="47f5b1ff-37b9-4dd0-a37a-3bc5aec52fa1" providerId="ADAL" clId="{1D0D03E3-3226-4873-A599-0FE1608CAE58}" dt="2024-09-16T08:15:29.267" v="4633" actId="1037"/>
          <ac:spMkLst>
            <pc:docMk/>
            <pc:sldMk cId="2525939772" sldId="3332"/>
            <ac:spMk id="15" creationId="{C2B864FE-2AF0-1647-B2FA-F98CC08C9561}"/>
          </ac:spMkLst>
        </pc:spChg>
        <pc:spChg chg="mod">
          <ac:chgData name="Hafiz Muhammad Salman" userId="47f5b1ff-37b9-4dd0-a37a-3bc5aec52fa1" providerId="ADAL" clId="{1D0D03E3-3226-4873-A599-0FE1608CAE58}" dt="2024-09-16T08:10:12.069" v="4316" actId="790"/>
          <ac:spMkLst>
            <pc:docMk/>
            <pc:sldMk cId="2525939772" sldId="3332"/>
            <ac:spMk id="16" creationId="{199A1578-0810-F94A-8344-93D294801FBC}"/>
          </ac:spMkLst>
        </pc:spChg>
        <pc:spChg chg="mod">
          <ac:chgData name="Hafiz Muhammad Salman" userId="47f5b1ff-37b9-4dd0-a37a-3bc5aec52fa1" providerId="ADAL" clId="{1D0D03E3-3226-4873-A599-0FE1608CAE58}" dt="2024-09-16T08:10:12.070" v="4317" actId="790"/>
          <ac:spMkLst>
            <pc:docMk/>
            <pc:sldMk cId="2525939772" sldId="3332"/>
            <ac:spMk id="17" creationId="{683FBB76-9F96-354B-BE1E-86D93FD2B646}"/>
          </ac:spMkLst>
        </pc:spChg>
        <pc:spChg chg="mod">
          <ac:chgData name="Hafiz Muhammad Salman" userId="47f5b1ff-37b9-4dd0-a37a-3bc5aec52fa1" providerId="ADAL" clId="{1D0D03E3-3226-4873-A599-0FE1608CAE58}" dt="2024-09-16T08:15:29.267" v="4633" actId="1037"/>
          <ac:spMkLst>
            <pc:docMk/>
            <pc:sldMk cId="2525939772" sldId="3332"/>
            <ac:spMk id="21" creationId="{2A0D9F80-F69C-1249-BB28-F6C1C1707C40}"/>
          </ac:spMkLst>
        </pc:spChg>
        <pc:spChg chg="mod">
          <ac:chgData name="Hafiz Muhammad Salman" userId="47f5b1ff-37b9-4dd0-a37a-3bc5aec52fa1" providerId="ADAL" clId="{1D0D03E3-3226-4873-A599-0FE1608CAE58}" dt="2024-09-16T08:10:12.053" v="4301" actId="790"/>
          <ac:spMkLst>
            <pc:docMk/>
            <pc:sldMk cId="2525939772" sldId="3332"/>
            <ac:spMk id="22" creationId="{877C64FF-76FE-AB4F-8653-A1293FD8C4B5}"/>
          </ac:spMkLst>
        </pc:spChg>
        <pc:spChg chg="mod">
          <ac:chgData name="Hafiz Muhammad Salman" userId="47f5b1ff-37b9-4dd0-a37a-3bc5aec52fa1" providerId="ADAL" clId="{1D0D03E3-3226-4873-A599-0FE1608CAE58}" dt="2024-09-16T08:10:12.054" v="4302" actId="790"/>
          <ac:spMkLst>
            <pc:docMk/>
            <pc:sldMk cId="2525939772" sldId="3332"/>
            <ac:spMk id="23" creationId="{DD89A7B4-583E-7146-BE83-4792372AD772}"/>
          </ac:spMkLst>
        </pc:spChg>
        <pc:spChg chg="mod">
          <ac:chgData name="Hafiz Muhammad Salman" userId="47f5b1ff-37b9-4dd0-a37a-3bc5aec52fa1" providerId="ADAL" clId="{1D0D03E3-3226-4873-A599-0FE1608CAE58}" dt="2024-09-16T08:10:12.055" v="4303" actId="790"/>
          <ac:spMkLst>
            <pc:docMk/>
            <pc:sldMk cId="2525939772" sldId="3332"/>
            <ac:spMk id="24" creationId="{09D5EC7E-9870-E147-948B-011D99EEE77C}"/>
          </ac:spMkLst>
        </pc:spChg>
        <pc:spChg chg="del mod">
          <ac:chgData name="Hafiz Muhammad Salman" userId="47f5b1ff-37b9-4dd0-a37a-3bc5aec52fa1" providerId="ADAL" clId="{1D0D03E3-3226-4873-A599-0FE1608CAE58}" dt="2024-09-16T08:15:01.841" v="4601" actId="478"/>
          <ac:spMkLst>
            <pc:docMk/>
            <pc:sldMk cId="2525939772" sldId="3332"/>
            <ac:spMk id="25" creationId="{33193321-12D3-4843-972A-2B9E8B623ED7}"/>
          </ac:spMkLst>
        </pc:spChg>
      </pc:sldChg>
      <pc:sldChg chg="delSp modSp del mod">
        <pc:chgData name="Hafiz Muhammad Salman" userId="47f5b1ff-37b9-4dd0-a37a-3bc5aec52fa1" providerId="ADAL" clId="{1D0D03E3-3226-4873-A599-0FE1608CAE58}" dt="2024-09-12T08:56:44.539" v="3389" actId="47"/>
        <pc:sldMkLst>
          <pc:docMk/>
          <pc:sldMk cId="3612496423" sldId="3332"/>
        </pc:sldMkLst>
        <pc:spChg chg="del mod">
          <ac:chgData name="Hafiz Muhammad Salman" userId="47f5b1ff-37b9-4dd0-a37a-3bc5aec52fa1" providerId="ADAL" clId="{1D0D03E3-3226-4873-A599-0FE1608CAE58}" dt="2024-09-12T08:31:16.356" v="3231" actId="478"/>
          <ac:spMkLst>
            <pc:docMk/>
            <pc:sldMk cId="3612496423" sldId="3332"/>
            <ac:spMk id="4" creationId="{1E9CF58B-786F-BE4D-B204-8C01DDE7D835}"/>
          </ac:spMkLst>
        </pc:spChg>
        <pc:spChg chg="del mod">
          <ac:chgData name="Hafiz Muhammad Salman" userId="47f5b1ff-37b9-4dd0-a37a-3bc5aec52fa1" providerId="ADAL" clId="{1D0D03E3-3226-4873-A599-0FE1608CAE58}" dt="2024-09-12T08:31:18.911" v="3232" actId="478"/>
          <ac:spMkLst>
            <pc:docMk/>
            <pc:sldMk cId="3612496423" sldId="3332"/>
            <ac:spMk id="8" creationId="{C6477A78-D59A-6F4A-9D00-DE14957B21C4}"/>
          </ac:spMkLst>
        </pc:spChg>
        <pc:spChg chg="del mod">
          <ac:chgData name="Hafiz Muhammad Salman" userId="47f5b1ff-37b9-4dd0-a37a-3bc5aec52fa1" providerId="ADAL" clId="{1D0D03E3-3226-4873-A599-0FE1608CAE58}" dt="2024-09-12T08:31:22.015" v="3233" actId="478"/>
          <ac:spMkLst>
            <pc:docMk/>
            <pc:sldMk cId="3612496423" sldId="3332"/>
            <ac:spMk id="11" creationId="{EFE48BF4-8C6B-B748-8105-6870DE59DBB5}"/>
          </ac:spMkLst>
        </pc:spChg>
        <pc:spChg chg="del mod">
          <ac:chgData name="Hafiz Muhammad Salman" userId="47f5b1ff-37b9-4dd0-a37a-3bc5aec52fa1" providerId="ADAL" clId="{1D0D03E3-3226-4873-A599-0FE1608CAE58}" dt="2024-09-12T08:31:02.307" v="3228" actId="478"/>
          <ac:spMkLst>
            <pc:docMk/>
            <pc:sldMk cId="3612496423" sldId="3332"/>
            <ac:spMk id="14" creationId="{60AA27C8-ED39-E348-8077-2E3D92E73AD4}"/>
          </ac:spMkLst>
        </pc:spChg>
        <pc:spChg chg="del mod">
          <ac:chgData name="Hafiz Muhammad Salman" userId="47f5b1ff-37b9-4dd0-a37a-3bc5aec52fa1" providerId="ADAL" clId="{1D0D03E3-3226-4873-A599-0FE1608CAE58}" dt="2024-09-12T08:31:09.884" v="3229" actId="478"/>
          <ac:spMkLst>
            <pc:docMk/>
            <pc:sldMk cId="3612496423" sldId="3332"/>
            <ac:spMk id="17" creationId="{344B63A6-A175-B54E-A8BC-62D9CD818269}"/>
          </ac:spMkLst>
        </pc:spChg>
        <pc:spChg chg="del mod">
          <ac:chgData name="Hafiz Muhammad Salman" userId="47f5b1ff-37b9-4dd0-a37a-3bc5aec52fa1" providerId="ADAL" clId="{1D0D03E3-3226-4873-A599-0FE1608CAE58}" dt="2024-09-12T08:31:12.658" v="3230" actId="478"/>
          <ac:spMkLst>
            <pc:docMk/>
            <pc:sldMk cId="3612496423" sldId="3332"/>
            <ac:spMk id="20" creationId="{CB5DE734-D481-444E-9D3D-FC2C0CDFD636}"/>
          </ac:spMkLst>
        </pc:spChg>
        <pc:spChg chg="mod">
          <ac:chgData name="Hafiz Muhammad Salman" userId="47f5b1ff-37b9-4dd0-a37a-3bc5aec52fa1" providerId="ADAL" clId="{1D0D03E3-3226-4873-A599-0FE1608CAE58}" dt="2024-09-12T08:29:55.711" v="3202" actId="790"/>
          <ac:spMkLst>
            <pc:docMk/>
            <pc:sldMk cId="3612496423" sldId="3332"/>
            <ac:spMk id="24" creationId="{9178B237-98DD-8341-A065-71BB2CCF8929}"/>
          </ac:spMkLst>
        </pc:spChg>
        <pc:spChg chg="mod">
          <ac:chgData name="Hafiz Muhammad Salman" userId="47f5b1ff-37b9-4dd0-a37a-3bc5aec52fa1" providerId="ADAL" clId="{1D0D03E3-3226-4873-A599-0FE1608CAE58}" dt="2024-09-12T08:29:55.724" v="3212" actId="790"/>
          <ac:spMkLst>
            <pc:docMk/>
            <pc:sldMk cId="3612496423" sldId="3332"/>
            <ac:spMk id="25" creationId="{98B41859-A43E-294E-A0D0-AD03CF5A0C12}"/>
          </ac:spMkLst>
        </pc:spChg>
        <pc:spChg chg="mod">
          <ac:chgData name="Hafiz Muhammad Salman" userId="47f5b1ff-37b9-4dd0-a37a-3bc5aec52fa1" providerId="ADAL" clId="{1D0D03E3-3226-4873-A599-0FE1608CAE58}" dt="2024-09-12T08:29:55.733" v="3222" actId="790"/>
          <ac:spMkLst>
            <pc:docMk/>
            <pc:sldMk cId="3612496423" sldId="3332"/>
            <ac:spMk id="26" creationId="{9447933D-04B1-454C-AF07-FCB6EE453A01}"/>
          </ac:spMkLst>
        </pc:spChg>
        <pc:spChg chg="mod">
          <ac:chgData name="Hafiz Muhammad Salman" userId="47f5b1ff-37b9-4dd0-a37a-3bc5aec52fa1" providerId="ADAL" clId="{1D0D03E3-3226-4873-A599-0FE1608CAE58}" dt="2024-09-12T08:29:55.712" v="3203" actId="790"/>
          <ac:spMkLst>
            <pc:docMk/>
            <pc:sldMk cId="3612496423" sldId="3332"/>
            <ac:spMk id="27" creationId="{BBB56725-881D-9A4E-BC9B-60024A0DB9FD}"/>
          </ac:spMkLst>
        </pc:spChg>
        <pc:spChg chg="mod">
          <ac:chgData name="Hafiz Muhammad Salman" userId="47f5b1ff-37b9-4dd0-a37a-3bc5aec52fa1" providerId="ADAL" clId="{1D0D03E3-3226-4873-A599-0FE1608CAE58}" dt="2024-09-12T08:29:55.725" v="3213" actId="790"/>
          <ac:spMkLst>
            <pc:docMk/>
            <pc:sldMk cId="3612496423" sldId="3332"/>
            <ac:spMk id="28" creationId="{35B81A81-C0F5-3046-9952-7EEFE6050388}"/>
          </ac:spMkLst>
        </pc:spChg>
        <pc:spChg chg="mod">
          <ac:chgData name="Hafiz Muhammad Salman" userId="47f5b1ff-37b9-4dd0-a37a-3bc5aec52fa1" providerId="ADAL" clId="{1D0D03E3-3226-4873-A599-0FE1608CAE58}" dt="2024-09-12T08:29:55.735" v="3223" actId="790"/>
          <ac:spMkLst>
            <pc:docMk/>
            <pc:sldMk cId="3612496423" sldId="3332"/>
            <ac:spMk id="29" creationId="{834B5961-02B5-864C-9037-3BAC3745F65D}"/>
          </ac:spMkLst>
        </pc:spChg>
        <pc:spChg chg="mod">
          <ac:chgData name="Hafiz Muhammad Salman" userId="47f5b1ff-37b9-4dd0-a37a-3bc5aec52fa1" providerId="ADAL" clId="{1D0D03E3-3226-4873-A599-0FE1608CAE58}" dt="2024-09-12T08:29:55.713" v="3204" actId="790"/>
          <ac:spMkLst>
            <pc:docMk/>
            <pc:sldMk cId="3612496423" sldId="3332"/>
            <ac:spMk id="37" creationId="{687B3FBE-E6CD-E44E-95B2-1D98D56090C6}"/>
          </ac:spMkLst>
        </pc:spChg>
        <pc:spChg chg="mod">
          <ac:chgData name="Hafiz Muhammad Salman" userId="47f5b1ff-37b9-4dd0-a37a-3bc5aec52fa1" providerId="ADAL" clId="{1D0D03E3-3226-4873-A599-0FE1608CAE58}" dt="2024-09-12T08:29:55.715" v="3205" actId="790"/>
          <ac:spMkLst>
            <pc:docMk/>
            <pc:sldMk cId="3612496423" sldId="3332"/>
            <ac:spMk id="38" creationId="{0DD18181-F29A-CC4C-B640-ACBF9C3AD7C4}"/>
          </ac:spMkLst>
        </pc:spChg>
        <pc:spChg chg="mod">
          <ac:chgData name="Hafiz Muhammad Salman" userId="47f5b1ff-37b9-4dd0-a37a-3bc5aec52fa1" providerId="ADAL" clId="{1D0D03E3-3226-4873-A599-0FE1608CAE58}" dt="2024-09-12T08:29:55.726" v="3214" actId="790"/>
          <ac:spMkLst>
            <pc:docMk/>
            <pc:sldMk cId="3612496423" sldId="3332"/>
            <ac:spMk id="40" creationId="{E1C3B15E-F238-C547-A490-64BE911B2892}"/>
          </ac:spMkLst>
        </pc:spChg>
        <pc:spChg chg="mod">
          <ac:chgData name="Hafiz Muhammad Salman" userId="47f5b1ff-37b9-4dd0-a37a-3bc5aec52fa1" providerId="ADAL" clId="{1D0D03E3-3226-4873-A599-0FE1608CAE58}" dt="2024-09-12T08:29:55.727" v="3215" actId="790"/>
          <ac:spMkLst>
            <pc:docMk/>
            <pc:sldMk cId="3612496423" sldId="3332"/>
            <ac:spMk id="41" creationId="{E800BE0B-74E0-294E-9AF7-A8C3C4CFBBB2}"/>
          </ac:spMkLst>
        </pc:spChg>
        <pc:spChg chg="mod">
          <ac:chgData name="Hafiz Muhammad Salman" userId="47f5b1ff-37b9-4dd0-a37a-3bc5aec52fa1" providerId="ADAL" clId="{1D0D03E3-3226-4873-A599-0FE1608CAE58}" dt="2024-09-12T08:29:55.736" v="3224" actId="790"/>
          <ac:spMkLst>
            <pc:docMk/>
            <pc:sldMk cId="3612496423" sldId="3332"/>
            <ac:spMk id="43" creationId="{9C8ADA31-B65B-0145-A428-018B482A36D6}"/>
          </ac:spMkLst>
        </pc:spChg>
        <pc:spChg chg="mod">
          <ac:chgData name="Hafiz Muhammad Salman" userId="47f5b1ff-37b9-4dd0-a37a-3bc5aec52fa1" providerId="ADAL" clId="{1D0D03E3-3226-4873-A599-0FE1608CAE58}" dt="2024-09-12T08:29:55.737" v="3225" actId="790"/>
          <ac:spMkLst>
            <pc:docMk/>
            <pc:sldMk cId="3612496423" sldId="3332"/>
            <ac:spMk id="44" creationId="{A42D13F8-CD22-0348-A7B4-AA7D19D10C7F}"/>
          </ac:spMkLst>
        </pc:spChg>
        <pc:spChg chg="mod">
          <ac:chgData name="Hafiz Muhammad Salman" userId="47f5b1ff-37b9-4dd0-a37a-3bc5aec52fa1" providerId="ADAL" clId="{1D0D03E3-3226-4873-A599-0FE1608CAE58}" dt="2024-09-12T08:29:55.716" v="3206" actId="790"/>
          <ac:spMkLst>
            <pc:docMk/>
            <pc:sldMk cId="3612496423" sldId="3332"/>
            <ac:spMk id="46" creationId="{DA551DC0-1214-9742-88F1-DD719A6276AA}"/>
          </ac:spMkLst>
        </pc:spChg>
        <pc:spChg chg="mod">
          <ac:chgData name="Hafiz Muhammad Salman" userId="47f5b1ff-37b9-4dd0-a37a-3bc5aec52fa1" providerId="ADAL" clId="{1D0D03E3-3226-4873-A599-0FE1608CAE58}" dt="2024-09-12T08:29:55.717" v="3207" actId="790"/>
          <ac:spMkLst>
            <pc:docMk/>
            <pc:sldMk cId="3612496423" sldId="3332"/>
            <ac:spMk id="47" creationId="{DDBBB619-B7E2-334B-A234-F54FB903E0B8}"/>
          </ac:spMkLst>
        </pc:spChg>
        <pc:spChg chg="mod">
          <ac:chgData name="Hafiz Muhammad Salman" userId="47f5b1ff-37b9-4dd0-a37a-3bc5aec52fa1" providerId="ADAL" clId="{1D0D03E3-3226-4873-A599-0FE1608CAE58}" dt="2024-09-12T08:29:55.728" v="3216" actId="790"/>
          <ac:spMkLst>
            <pc:docMk/>
            <pc:sldMk cId="3612496423" sldId="3332"/>
            <ac:spMk id="49" creationId="{8FF4D3A7-EC49-6844-98A1-1F233EBFE56D}"/>
          </ac:spMkLst>
        </pc:spChg>
        <pc:spChg chg="mod">
          <ac:chgData name="Hafiz Muhammad Salman" userId="47f5b1ff-37b9-4dd0-a37a-3bc5aec52fa1" providerId="ADAL" clId="{1D0D03E3-3226-4873-A599-0FE1608CAE58}" dt="2024-09-12T08:29:55.729" v="3217" actId="790"/>
          <ac:spMkLst>
            <pc:docMk/>
            <pc:sldMk cId="3612496423" sldId="3332"/>
            <ac:spMk id="50" creationId="{1FF378DF-50AE-FD45-9A00-8BE4AE142297}"/>
          </ac:spMkLst>
        </pc:spChg>
        <pc:spChg chg="mod">
          <ac:chgData name="Hafiz Muhammad Salman" userId="47f5b1ff-37b9-4dd0-a37a-3bc5aec52fa1" providerId="ADAL" clId="{1D0D03E3-3226-4873-A599-0FE1608CAE58}" dt="2024-09-12T08:29:55.739" v="3226" actId="790"/>
          <ac:spMkLst>
            <pc:docMk/>
            <pc:sldMk cId="3612496423" sldId="3332"/>
            <ac:spMk id="52" creationId="{1F6CDBDA-41DA-034D-B29E-4E825AB5DB63}"/>
          </ac:spMkLst>
        </pc:spChg>
        <pc:spChg chg="mod">
          <ac:chgData name="Hafiz Muhammad Salman" userId="47f5b1ff-37b9-4dd0-a37a-3bc5aec52fa1" providerId="ADAL" clId="{1D0D03E3-3226-4873-A599-0FE1608CAE58}" dt="2024-09-12T08:29:55.740" v="3227" actId="790"/>
          <ac:spMkLst>
            <pc:docMk/>
            <pc:sldMk cId="3612496423" sldId="3332"/>
            <ac:spMk id="53" creationId="{1FD6171D-A789-DB43-BBE6-E6F2F0BF4874}"/>
          </ac:spMkLst>
        </pc:spChg>
        <pc:spChg chg="mod">
          <ac:chgData name="Hafiz Muhammad Salman" userId="47f5b1ff-37b9-4dd0-a37a-3bc5aec52fa1" providerId="ADAL" clId="{1D0D03E3-3226-4873-A599-0FE1608CAE58}" dt="2024-09-12T08:29:55.704" v="3198" actId="790"/>
          <ac:spMkLst>
            <pc:docMk/>
            <pc:sldMk cId="3612496423" sldId="3332"/>
            <ac:spMk id="54" creationId="{9E4904C1-0F98-B444-92C8-51C3B1A021A5}"/>
          </ac:spMkLst>
        </pc:spChg>
        <pc:spChg chg="mod">
          <ac:chgData name="Hafiz Muhammad Salman" userId="47f5b1ff-37b9-4dd0-a37a-3bc5aec52fa1" providerId="ADAL" clId="{1D0D03E3-3226-4873-A599-0FE1608CAE58}" dt="2024-09-12T08:29:55.706" v="3199" actId="790"/>
          <ac:spMkLst>
            <pc:docMk/>
            <pc:sldMk cId="3612496423" sldId="3332"/>
            <ac:spMk id="55" creationId="{975A9C97-E479-AE4C-970F-50DDC5A4EA2D}"/>
          </ac:spMkLst>
        </pc:spChg>
        <pc:spChg chg="mod">
          <ac:chgData name="Hafiz Muhammad Salman" userId="47f5b1ff-37b9-4dd0-a37a-3bc5aec52fa1" providerId="ADAL" clId="{1D0D03E3-3226-4873-A599-0FE1608CAE58}" dt="2024-09-12T08:29:55.718" v="3208" actId="790"/>
          <ac:spMkLst>
            <pc:docMk/>
            <pc:sldMk cId="3612496423" sldId="3332"/>
            <ac:spMk id="56" creationId="{77C27192-409D-C147-88C6-130BE7BB5841}"/>
          </ac:spMkLst>
        </pc:spChg>
        <pc:spChg chg="mod">
          <ac:chgData name="Hafiz Muhammad Salman" userId="47f5b1ff-37b9-4dd0-a37a-3bc5aec52fa1" providerId="ADAL" clId="{1D0D03E3-3226-4873-A599-0FE1608CAE58}" dt="2024-09-12T08:29:55.730" v="3218" actId="790"/>
          <ac:spMkLst>
            <pc:docMk/>
            <pc:sldMk cId="3612496423" sldId="3332"/>
            <ac:spMk id="57" creationId="{F5D8DFEC-3FE0-5248-8B6E-FF841150B7BB}"/>
          </ac:spMkLst>
        </pc:spChg>
        <pc:spChg chg="mod">
          <ac:chgData name="Hafiz Muhammad Salman" userId="47f5b1ff-37b9-4dd0-a37a-3bc5aec52fa1" providerId="ADAL" clId="{1D0D03E3-3226-4873-A599-0FE1608CAE58}" dt="2024-09-12T08:29:55.720" v="3209" actId="790"/>
          <ac:spMkLst>
            <pc:docMk/>
            <pc:sldMk cId="3612496423" sldId="3332"/>
            <ac:spMk id="58" creationId="{FFFA591C-7229-254B-AB2A-7D6661026967}"/>
          </ac:spMkLst>
        </pc:spChg>
        <pc:spChg chg="mod">
          <ac:chgData name="Hafiz Muhammad Salman" userId="47f5b1ff-37b9-4dd0-a37a-3bc5aec52fa1" providerId="ADAL" clId="{1D0D03E3-3226-4873-A599-0FE1608CAE58}" dt="2024-09-12T08:29:55.731" v="3219" actId="790"/>
          <ac:spMkLst>
            <pc:docMk/>
            <pc:sldMk cId="3612496423" sldId="3332"/>
            <ac:spMk id="59" creationId="{0A4A0407-DE35-914E-B78A-1C3D4BBF5BA7}"/>
          </ac:spMkLst>
        </pc:spChg>
      </pc:sldChg>
      <pc:sldChg chg="del">
        <pc:chgData name="Hafiz Muhammad Salman" userId="47f5b1ff-37b9-4dd0-a37a-3bc5aec52fa1" providerId="ADAL" clId="{1D0D03E3-3226-4873-A599-0FE1608CAE58}" dt="2024-09-11T11:53:18.675" v="1685" actId="47"/>
        <pc:sldMkLst>
          <pc:docMk/>
          <pc:sldMk cId="1336434739" sldId="3333"/>
        </pc:sldMkLst>
      </pc:sldChg>
      <pc:sldChg chg="modSp del mod">
        <pc:chgData name="Hafiz Muhammad Salman" userId="47f5b1ff-37b9-4dd0-a37a-3bc5aec52fa1" providerId="ADAL" clId="{1D0D03E3-3226-4873-A599-0FE1608CAE58}" dt="2024-09-18T21:23:03.530" v="5630" actId="2696"/>
        <pc:sldMkLst>
          <pc:docMk/>
          <pc:sldMk cId="3879400057" sldId="3335"/>
        </pc:sldMkLst>
        <pc:spChg chg="mod">
          <ac:chgData name="Hafiz Muhammad Salman" userId="47f5b1ff-37b9-4dd0-a37a-3bc5aec52fa1" providerId="ADAL" clId="{1D0D03E3-3226-4873-A599-0FE1608CAE58}" dt="2024-09-16T08:15:43.586" v="4642" actId="20577"/>
          <ac:spMkLst>
            <pc:docMk/>
            <pc:sldMk cId="3879400057" sldId="3335"/>
            <ac:spMk id="2" creationId="{E699994C-ACF7-4410-B983-7655628D6E23}"/>
          </ac:spMkLst>
        </pc:spChg>
        <pc:spChg chg="mod">
          <ac:chgData name="Hafiz Muhammad Salman" userId="47f5b1ff-37b9-4dd0-a37a-3bc5aec52fa1" providerId="ADAL" clId="{1D0D03E3-3226-4873-A599-0FE1608CAE58}" dt="2024-09-16T08:10:11.428" v="4291" actId="790"/>
          <ac:spMkLst>
            <pc:docMk/>
            <pc:sldMk cId="3879400057" sldId="3335"/>
            <ac:spMk id="7" creationId="{0F295F75-2746-224C-B2F6-30AFAA5350FA}"/>
          </ac:spMkLst>
        </pc:spChg>
        <pc:spChg chg="mod">
          <ac:chgData name="Hafiz Muhammad Salman" userId="47f5b1ff-37b9-4dd0-a37a-3bc5aec52fa1" providerId="ADAL" clId="{1D0D03E3-3226-4873-A599-0FE1608CAE58}" dt="2024-09-16T08:10:11.430" v="4292" actId="790"/>
          <ac:spMkLst>
            <pc:docMk/>
            <pc:sldMk cId="3879400057" sldId="3335"/>
            <ac:spMk id="8" creationId="{F3601C1F-857E-024A-88D4-51FDF8921AB9}"/>
          </ac:spMkLst>
        </pc:spChg>
        <pc:spChg chg="mod">
          <ac:chgData name="Hafiz Muhammad Salman" userId="47f5b1ff-37b9-4dd0-a37a-3bc5aec52fa1" providerId="ADAL" clId="{1D0D03E3-3226-4873-A599-0FE1608CAE58}" dt="2024-09-16T08:10:11.430" v="4293" actId="790"/>
          <ac:spMkLst>
            <pc:docMk/>
            <pc:sldMk cId="3879400057" sldId="3335"/>
            <ac:spMk id="9" creationId="{EA9B190D-BEE3-5C44-B62F-D10A89FFFF25}"/>
          </ac:spMkLst>
        </pc:spChg>
        <pc:spChg chg="mod">
          <ac:chgData name="Hafiz Muhammad Salman" userId="47f5b1ff-37b9-4dd0-a37a-3bc5aec52fa1" providerId="ADAL" clId="{1D0D03E3-3226-4873-A599-0FE1608CAE58}" dt="2024-09-16T08:10:11.431" v="4294" actId="790"/>
          <ac:spMkLst>
            <pc:docMk/>
            <pc:sldMk cId="3879400057" sldId="3335"/>
            <ac:spMk id="10" creationId="{C7940CE3-AF52-1A4E-BC3B-CF60E99F0F3F}"/>
          </ac:spMkLst>
        </pc:spChg>
        <pc:spChg chg="mod">
          <ac:chgData name="Hafiz Muhammad Salman" userId="47f5b1ff-37b9-4dd0-a37a-3bc5aec52fa1" providerId="ADAL" clId="{1D0D03E3-3226-4873-A599-0FE1608CAE58}" dt="2024-09-16T08:10:11.432" v="4295" actId="790"/>
          <ac:spMkLst>
            <pc:docMk/>
            <pc:sldMk cId="3879400057" sldId="3335"/>
            <ac:spMk id="11" creationId="{6B6EDF60-14F0-944A-B484-DA9CB1DFFFC6}"/>
          </ac:spMkLst>
        </pc:spChg>
        <pc:spChg chg="mod">
          <ac:chgData name="Hafiz Muhammad Salman" userId="47f5b1ff-37b9-4dd0-a37a-3bc5aec52fa1" providerId="ADAL" clId="{1D0D03E3-3226-4873-A599-0FE1608CAE58}" dt="2024-09-16T08:15:50.497" v="4650" actId="20577"/>
          <ac:spMkLst>
            <pc:docMk/>
            <pc:sldMk cId="3879400057" sldId="3335"/>
            <ac:spMk id="13" creationId="{5402B644-687E-7C43-9949-47DBC03412F1}"/>
          </ac:spMkLst>
        </pc:spChg>
        <pc:spChg chg="mod">
          <ac:chgData name="Hafiz Muhammad Salman" userId="47f5b1ff-37b9-4dd0-a37a-3bc5aec52fa1" providerId="ADAL" clId="{1D0D03E3-3226-4873-A599-0FE1608CAE58}" dt="2024-09-16T08:16:21.204" v="4672" actId="20577"/>
          <ac:spMkLst>
            <pc:docMk/>
            <pc:sldMk cId="3879400057" sldId="3335"/>
            <ac:spMk id="14" creationId="{8EAFB908-B3EB-F24B-A38F-87782CA7BE1C}"/>
          </ac:spMkLst>
        </pc:spChg>
        <pc:spChg chg="mod">
          <ac:chgData name="Hafiz Muhammad Salman" userId="47f5b1ff-37b9-4dd0-a37a-3bc5aec52fa1" providerId="ADAL" clId="{1D0D03E3-3226-4873-A599-0FE1608CAE58}" dt="2024-09-16T08:16:02.753" v="4658" actId="20577"/>
          <ac:spMkLst>
            <pc:docMk/>
            <pc:sldMk cId="3879400057" sldId="3335"/>
            <ac:spMk id="15" creationId="{AC7A8DC7-67DF-D642-931B-8088060DA350}"/>
          </ac:spMkLst>
        </pc:spChg>
        <pc:spChg chg="mod">
          <ac:chgData name="Hafiz Muhammad Salman" userId="47f5b1ff-37b9-4dd0-a37a-3bc5aec52fa1" providerId="ADAL" clId="{1D0D03E3-3226-4873-A599-0FE1608CAE58}" dt="2024-09-16T08:16:16.749" v="4669" actId="20577"/>
          <ac:spMkLst>
            <pc:docMk/>
            <pc:sldMk cId="3879400057" sldId="3335"/>
            <ac:spMk id="16" creationId="{9FC821D6-3171-314D-AFA7-E6AC3F69916F}"/>
          </ac:spMkLst>
        </pc:spChg>
      </pc:sldChg>
      <pc:sldChg chg="addSp delSp modSp del mod">
        <pc:chgData name="Hafiz Muhammad Salman" userId="47f5b1ff-37b9-4dd0-a37a-3bc5aec52fa1" providerId="ADAL" clId="{1D0D03E3-3226-4873-A599-0FE1608CAE58}" dt="2024-09-11T12:54:16.579" v="2240" actId="47"/>
        <pc:sldMkLst>
          <pc:docMk/>
          <pc:sldMk cId="4056827239" sldId="3337"/>
        </pc:sldMkLst>
        <pc:spChg chg="mod">
          <ac:chgData name="Hafiz Muhammad Salman" userId="47f5b1ff-37b9-4dd0-a37a-3bc5aec52fa1" providerId="ADAL" clId="{1D0D03E3-3226-4873-A599-0FE1608CAE58}" dt="2024-09-11T12:43:36.987" v="1969" actId="20577"/>
          <ac:spMkLst>
            <pc:docMk/>
            <pc:sldMk cId="4056827239" sldId="3337"/>
            <ac:spMk id="2" creationId="{559D53D7-3318-4639-94E0-15A2BB78BED1}"/>
          </ac:spMkLst>
        </pc:spChg>
        <pc:spChg chg="mod">
          <ac:chgData name="Hafiz Muhammad Salman" userId="47f5b1ff-37b9-4dd0-a37a-3bc5aec52fa1" providerId="ADAL" clId="{1D0D03E3-3226-4873-A599-0FE1608CAE58}" dt="2024-09-11T12:43:07.880" v="1933" actId="1076"/>
          <ac:spMkLst>
            <pc:docMk/>
            <pc:sldMk cId="4056827239" sldId="3337"/>
            <ac:spMk id="4" creationId="{113B7856-5FFB-C546-A162-7CB89281B7C6}"/>
          </ac:spMkLst>
        </pc:spChg>
        <pc:spChg chg="del mod">
          <ac:chgData name="Hafiz Muhammad Salman" userId="47f5b1ff-37b9-4dd0-a37a-3bc5aec52fa1" providerId="ADAL" clId="{1D0D03E3-3226-4873-A599-0FE1608CAE58}" dt="2024-09-11T12:43:49.746" v="1971" actId="478"/>
          <ac:spMkLst>
            <pc:docMk/>
            <pc:sldMk cId="4056827239" sldId="3337"/>
            <ac:spMk id="5" creationId="{0C200A45-6496-3446-BDCE-71BA14E21DDC}"/>
          </ac:spMkLst>
        </pc:spChg>
        <pc:spChg chg="mod">
          <ac:chgData name="Hafiz Muhammad Salman" userId="47f5b1ff-37b9-4dd0-a37a-3bc5aec52fa1" providerId="ADAL" clId="{1D0D03E3-3226-4873-A599-0FE1608CAE58}" dt="2024-09-11T12:50:28.979" v="2155" actId="1037"/>
          <ac:spMkLst>
            <pc:docMk/>
            <pc:sldMk cId="4056827239" sldId="3337"/>
            <ac:spMk id="6" creationId="{F056CDD3-8AA1-CA4D-9A6F-A39E062A193C}"/>
          </ac:spMkLst>
        </pc:spChg>
        <pc:spChg chg="mod">
          <ac:chgData name="Hafiz Muhammad Salman" userId="47f5b1ff-37b9-4dd0-a37a-3bc5aec52fa1" providerId="ADAL" clId="{1D0D03E3-3226-4873-A599-0FE1608CAE58}" dt="2024-09-11T12:50:33.531" v="2169" actId="1036"/>
          <ac:spMkLst>
            <pc:docMk/>
            <pc:sldMk cId="4056827239" sldId="3337"/>
            <ac:spMk id="7" creationId="{2E3310B8-185B-C24B-AAD9-A7B55D3DA56D}"/>
          </ac:spMkLst>
        </pc:spChg>
        <pc:spChg chg="del mod">
          <ac:chgData name="Hafiz Muhammad Salman" userId="47f5b1ff-37b9-4dd0-a37a-3bc5aec52fa1" providerId="ADAL" clId="{1D0D03E3-3226-4873-A599-0FE1608CAE58}" dt="2024-09-11T12:46:06.242" v="2085"/>
          <ac:spMkLst>
            <pc:docMk/>
            <pc:sldMk cId="4056827239" sldId="3337"/>
            <ac:spMk id="8" creationId="{68CD5A07-2A32-CE4E-A818-FF16E1B72C89}"/>
          </ac:spMkLst>
        </pc:spChg>
        <pc:spChg chg="del mod">
          <ac:chgData name="Hafiz Muhammad Salman" userId="47f5b1ff-37b9-4dd0-a37a-3bc5aec52fa1" providerId="ADAL" clId="{1D0D03E3-3226-4873-A599-0FE1608CAE58}" dt="2024-09-11T12:43:55.340" v="1972" actId="478"/>
          <ac:spMkLst>
            <pc:docMk/>
            <pc:sldMk cId="4056827239" sldId="3337"/>
            <ac:spMk id="9" creationId="{3B3B7202-E75C-8148-974F-76D4601D7FA7}"/>
          </ac:spMkLst>
        </pc:spChg>
        <pc:spChg chg="del mod">
          <ac:chgData name="Hafiz Muhammad Salman" userId="47f5b1ff-37b9-4dd0-a37a-3bc5aec52fa1" providerId="ADAL" clId="{1D0D03E3-3226-4873-A599-0FE1608CAE58}" dt="2024-09-11T12:46:36.984" v="2091" actId="478"/>
          <ac:spMkLst>
            <pc:docMk/>
            <pc:sldMk cId="4056827239" sldId="3337"/>
            <ac:spMk id="10" creationId="{C8D1B974-2B1E-1246-9008-49076A71A887}"/>
          </ac:spMkLst>
        </pc:spChg>
        <pc:spChg chg="del mod">
          <ac:chgData name="Hafiz Muhammad Salman" userId="47f5b1ff-37b9-4dd0-a37a-3bc5aec52fa1" providerId="ADAL" clId="{1D0D03E3-3226-4873-A599-0FE1608CAE58}" dt="2024-09-11T12:46:37.018" v="2095"/>
          <ac:spMkLst>
            <pc:docMk/>
            <pc:sldMk cId="4056827239" sldId="3337"/>
            <ac:spMk id="11" creationId="{9D518633-A48B-F042-ADC0-14355DA75E84}"/>
          </ac:spMkLst>
        </pc:spChg>
        <pc:spChg chg="del mod">
          <ac:chgData name="Hafiz Muhammad Salman" userId="47f5b1ff-37b9-4dd0-a37a-3bc5aec52fa1" providerId="ADAL" clId="{1D0D03E3-3226-4873-A599-0FE1608CAE58}" dt="2024-09-11T12:46:36.984" v="2093"/>
          <ac:spMkLst>
            <pc:docMk/>
            <pc:sldMk cId="4056827239" sldId="3337"/>
            <ac:spMk id="12" creationId="{2262831D-5242-3641-B17C-FE3FF36D1263}"/>
          </ac:spMkLst>
        </pc:spChg>
        <pc:spChg chg="del mod">
          <ac:chgData name="Hafiz Muhammad Salman" userId="47f5b1ff-37b9-4dd0-a37a-3bc5aec52fa1" providerId="ADAL" clId="{1D0D03E3-3226-4873-A599-0FE1608CAE58}" dt="2024-09-11T12:44:01.674" v="1973" actId="478"/>
          <ac:spMkLst>
            <pc:docMk/>
            <pc:sldMk cId="4056827239" sldId="3337"/>
            <ac:spMk id="13" creationId="{C07AF0FC-BE91-A44B-AACE-9F86481E9D34}"/>
          </ac:spMkLst>
        </pc:spChg>
        <pc:spChg chg="del mod">
          <ac:chgData name="Hafiz Muhammad Salman" userId="47f5b1ff-37b9-4dd0-a37a-3bc5aec52fa1" providerId="ADAL" clId="{1D0D03E3-3226-4873-A599-0FE1608CAE58}" dt="2024-09-11T12:47:13.684" v="2100" actId="478"/>
          <ac:spMkLst>
            <pc:docMk/>
            <pc:sldMk cId="4056827239" sldId="3337"/>
            <ac:spMk id="14" creationId="{BE159945-5A02-8442-AD4D-8BD21C8DF255}"/>
          </ac:spMkLst>
        </pc:spChg>
        <pc:spChg chg="del mod">
          <ac:chgData name="Hafiz Muhammad Salman" userId="47f5b1ff-37b9-4dd0-a37a-3bc5aec52fa1" providerId="ADAL" clId="{1D0D03E3-3226-4873-A599-0FE1608CAE58}" dt="2024-09-11T12:46:47.428" v="2097" actId="478"/>
          <ac:spMkLst>
            <pc:docMk/>
            <pc:sldMk cId="4056827239" sldId="3337"/>
            <ac:spMk id="15" creationId="{099754DA-9895-784B-88CE-C3B78686CCAD}"/>
          </ac:spMkLst>
        </pc:spChg>
        <pc:spChg chg="del mod">
          <ac:chgData name="Hafiz Muhammad Salman" userId="47f5b1ff-37b9-4dd0-a37a-3bc5aec52fa1" providerId="ADAL" clId="{1D0D03E3-3226-4873-A599-0FE1608CAE58}" dt="2024-09-11T12:46:49.465" v="2098" actId="478"/>
          <ac:spMkLst>
            <pc:docMk/>
            <pc:sldMk cId="4056827239" sldId="3337"/>
            <ac:spMk id="16" creationId="{50EE6726-3AC5-BC4C-9D38-D4F5ED53D2C6}"/>
          </ac:spMkLst>
        </pc:spChg>
        <pc:spChg chg="del mod">
          <ac:chgData name="Hafiz Muhammad Salman" userId="47f5b1ff-37b9-4dd0-a37a-3bc5aec52fa1" providerId="ADAL" clId="{1D0D03E3-3226-4873-A599-0FE1608CAE58}" dt="2024-09-11T12:44:07.550" v="1974" actId="478"/>
          <ac:spMkLst>
            <pc:docMk/>
            <pc:sldMk cId="4056827239" sldId="3337"/>
            <ac:spMk id="17" creationId="{CF3928C3-1899-CF4B-93E0-E4040A83C759}"/>
          </ac:spMkLst>
        </pc:spChg>
        <pc:spChg chg="del mod">
          <ac:chgData name="Hafiz Muhammad Salman" userId="47f5b1ff-37b9-4dd0-a37a-3bc5aec52fa1" providerId="ADAL" clId="{1D0D03E3-3226-4873-A599-0FE1608CAE58}" dt="2024-09-11T12:47:15.546" v="2101" actId="478"/>
          <ac:spMkLst>
            <pc:docMk/>
            <pc:sldMk cId="4056827239" sldId="3337"/>
            <ac:spMk id="18" creationId="{8222E7A9-730F-E242-A278-E1738C59C4D9}"/>
          </ac:spMkLst>
        </pc:spChg>
        <pc:spChg chg="del mod">
          <ac:chgData name="Hafiz Muhammad Salman" userId="47f5b1ff-37b9-4dd0-a37a-3bc5aec52fa1" providerId="ADAL" clId="{1D0D03E3-3226-4873-A599-0FE1608CAE58}" dt="2024-09-11T12:47:17.687" v="2102" actId="478"/>
          <ac:spMkLst>
            <pc:docMk/>
            <pc:sldMk cId="4056827239" sldId="3337"/>
            <ac:spMk id="19" creationId="{555B4089-92B4-5D41-A68C-C135770EC42D}"/>
          </ac:spMkLst>
        </pc:spChg>
        <pc:spChg chg="del mod">
          <ac:chgData name="Hafiz Muhammad Salman" userId="47f5b1ff-37b9-4dd0-a37a-3bc5aec52fa1" providerId="ADAL" clId="{1D0D03E3-3226-4873-A599-0FE1608CAE58}" dt="2024-09-11T12:47:19.647" v="2103" actId="478"/>
          <ac:spMkLst>
            <pc:docMk/>
            <pc:sldMk cId="4056827239" sldId="3337"/>
            <ac:spMk id="20" creationId="{DD8BF072-4C5A-FD4A-BC76-52E58BF39671}"/>
          </ac:spMkLst>
        </pc:spChg>
        <pc:spChg chg="add del mod">
          <ac:chgData name="Hafiz Muhammad Salman" userId="47f5b1ff-37b9-4dd0-a37a-3bc5aec52fa1" providerId="ADAL" clId="{1D0D03E3-3226-4873-A599-0FE1608CAE58}" dt="2024-09-11T12:50:33.964" v="2170" actId="478"/>
          <ac:spMkLst>
            <pc:docMk/>
            <pc:sldMk cId="4056827239" sldId="3337"/>
            <ac:spMk id="22" creationId="{DDE7A289-1954-E38D-EB32-28D60B926710}"/>
          </ac:spMkLst>
        </pc:spChg>
        <pc:spChg chg="add del mod">
          <ac:chgData name="Hafiz Muhammad Salman" userId="47f5b1ff-37b9-4dd0-a37a-3bc5aec52fa1" providerId="ADAL" clId="{1D0D03E3-3226-4873-A599-0FE1608CAE58}" dt="2024-09-11T12:47:22.039" v="2104" actId="478"/>
          <ac:spMkLst>
            <pc:docMk/>
            <pc:sldMk cId="4056827239" sldId="3337"/>
            <ac:spMk id="23" creationId="{3F422564-EEED-83F8-142E-94AC234DD51F}"/>
          </ac:spMkLst>
        </pc:spChg>
        <pc:spChg chg="add del mod">
          <ac:chgData name="Hafiz Muhammad Salman" userId="47f5b1ff-37b9-4dd0-a37a-3bc5aec52fa1" providerId="ADAL" clId="{1D0D03E3-3226-4873-A599-0FE1608CAE58}" dt="2024-09-11T12:47:24.238" v="2105" actId="478"/>
          <ac:spMkLst>
            <pc:docMk/>
            <pc:sldMk cId="4056827239" sldId="3337"/>
            <ac:spMk id="24" creationId="{0EFF01A2-45AB-CEE5-7D25-16490BC79F1E}"/>
          </ac:spMkLst>
        </pc:spChg>
        <pc:spChg chg="add del mod">
          <ac:chgData name="Hafiz Muhammad Salman" userId="47f5b1ff-37b9-4dd0-a37a-3bc5aec52fa1" providerId="ADAL" clId="{1D0D03E3-3226-4873-A599-0FE1608CAE58}" dt="2024-09-11T12:50:34.349" v="2171" actId="478"/>
          <ac:spMkLst>
            <pc:docMk/>
            <pc:sldMk cId="4056827239" sldId="3337"/>
            <ac:spMk id="25" creationId="{CC146C5B-7839-04C0-6B4E-AAAFBA1FF12D}"/>
          </ac:spMkLst>
        </pc:spChg>
        <pc:spChg chg="add del mod">
          <ac:chgData name="Hafiz Muhammad Salman" userId="47f5b1ff-37b9-4dd0-a37a-3bc5aec52fa1" providerId="ADAL" clId="{1D0D03E3-3226-4873-A599-0FE1608CAE58}" dt="2024-09-11T12:47:26.293" v="2106" actId="478"/>
          <ac:spMkLst>
            <pc:docMk/>
            <pc:sldMk cId="4056827239" sldId="3337"/>
            <ac:spMk id="26" creationId="{AC319298-36D3-6296-569C-6AD7EE85D75A}"/>
          </ac:spMkLst>
        </pc:spChg>
        <pc:spChg chg="add del mod">
          <ac:chgData name="Hafiz Muhammad Salman" userId="47f5b1ff-37b9-4dd0-a37a-3bc5aec52fa1" providerId="ADAL" clId="{1D0D03E3-3226-4873-A599-0FE1608CAE58}" dt="2024-09-11T12:46:55.470" v="2099" actId="478"/>
          <ac:spMkLst>
            <pc:docMk/>
            <pc:sldMk cId="4056827239" sldId="3337"/>
            <ac:spMk id="27" creationId="{ADB9F291-B2BA-6722-02F0-3CFF85503DFC}"/>
          </ac:spMkLst>
        </pc:spChg>
        <pc:spChg chg="add mod">
          <ac:chgData name="Hafiz Muhammad Salman" userId="47f5b1ff-37b9-4dd0-a37a-3bc5aec52fa1" providerId="ADAL" clId="{1D0D03E3-3226-4873-A599-0FE1608CAE58}" dt="2024-09-11T12:50:32.700" v="2168" actId="1036"/>
          <ac:spMkLst>
            <pc:docMk/>
            <pc:sldMk cId="4056827239" sldId="3337"/>
            <ac:spMk id="28" creationId="{600ECF50-9139-C178-ECE3-08668BC385CA}"/>
          </ac:spMkLst>
        </pc:spChg>
        <pc:spChg chg="add mod">
          <ac:chgData name="Hafiz Muhammad Salman" userId="47f5b1ff-37b9-4dd0-a37a-3bc5aec52fa1" providerId="ADAL" clId="{1D0D03E3-3226-4873-A599-0FE1608CAE58}" dt="2024-09-11T12:50:32.700" v="2168" actId="1036"/>
          <ac:spMkLst>
            <pc:docMk/>
            <pc:sldMk cId="4056827239" sldId="3337"/>
            <ac:spMk id="29" creationId="{CEFFCFCB-0FF6-4B86-1871-D22F9402F42F}"/>
          </ac:spMkLst>
        </pc:spChg>
        <pc:spChg chg="add mod">
          <ac:chgData name="Hafiz Muhammad Salman" userId="47f5b1ff-37b9-4dd0-a37a-3bc5aec52fa1" providerId="ADAL" clId="{1D0D03E3-3226-4873-A599-0FE1608CAE58}" dt="2024-09-11T12:50:31.923" v="2167" actId="1036"/>
          <ac:spMkLst>
            <pc:docMk/>
            <pc:sldMk cId="4056827239" sldId="3337"/>
            <ac:spMk id="30" creationId="{D9CDAFC4-0ADE-F265-252F-916C19CE2C5C}"/>
          </ac:spMkLst>
        </pc:spChg>
        <pc:spChg chg="add mod">
          <ac:chgData name="Hafiz Muhammad Salman" userId="47f5b1ff-37b9-4dd0-a37a-3bc5aec52fa1" providerId="ADAL" clId="{1D0D03E3-3226-4873-A599-0FE1608CAE58}" dt="2024-09-11T12:50:31.923" v="2167" actId="1036"/>
          <ac:spMkLst>
            <pc:docMk/>
            <pc:sldMk cId="4056827239" sldId="3337"/>
            <ac:spMk id="31" creationId="{B07A66AE-6E94-D0F4-46A4-F018C13973D8}"/>
          </ac:spMkLst>
        </pc:spChg>
        <pc:spChg chg="add mod">
          <ac:chgData name="Hafiz Muhammad Salman" userId="47f5b1ff-37b9-4dd0-a37a-3bc5aec52fa1" providerId="ADAL" clId="{1D0D03E3-3226-4873-A599-0FE1608CAE58}" dt="2024-09-11T12:50:29.708" v="2157" actId="1036"/>
          <ac:spMkLst>
            <pc:docMk/>
            <pc:sldMk cId="4056827239" sldId="3337"/>
            <ac:spMk id="32" creationId="{FDE5D641-ECF0-1A54-51F9-68CECE308DEE}"/>
          </ac:spMkLst>
        </pc:spChg>
        <pc:spChg chg="add mod">
          <ac:chgData name="Hafiz Muhammad Salman" userId="47f5b1ff-37b9-4dd0-a37a-3bc5aec52fa1" providerId="ADAL" clId="{1D0D03E3-3226-4873-A599-0FE1608CAE58}" dt="2024-09-11T12:50:29.708" v="2157" actId="1036"/>
          <ac:spMkLst>
            <pc:docMk/>
            <pc:sldMk cId="4056827239" sldId="3337"/>
            <ac:spMk id="33" creationId="{B559BA77-000F-C66E-D23C-9636BDBA0170}"/>
          </ac:spMkLst>
        </pc:spChg>
      </pc:sldChg>
      <pc:sldChg chg="delSp modSp del mod">
        <pc:chgData name="Hafiz Muhammad Salman" userId="47f5b1ff-37b9-4dd0-a37a-3bc5aec52fa1" providerId="ADAL" clId="{1D0D03E3-3226-4873-A599-0FE1608CAE58}" dt="2024-09-12T08:56:45.828" v="3390" actId="47"/>
        <pc:sldMkLst>
          <pc:docMk/>
          <pc:sldMk cId="4180017509" sldId="3342"/>
        </pc:sldMkLst>
        <pc:spChg chg="mod">
          <ac:chgData name="Hafiz Muhammad Salman" userId="47f5b1ff-37b9-4dd0-a37a-3bc5aec52fa1" providerId="ADAL" clId="{1D0D03E3-3226-4873-A599-0FE1608CAE58}" dt="2024-09-12T08:32:09.129" v="3236" actId="20577"/>
          <ac:spMkLst>
            <pc:docMk/>
            <pc:sldMk cId="4180017509" sldId="3342"/>
            <ac:spMk id="4" creationId="{4DFC54DF-9255-664D-B427-30148CEA157D}"/>
          </ac:spMkLst>
        </pc:spChg>
        <pc:spChg chg="mod">
          <ac:chgData name="Hafiz Muhammad Salman" userId="47f5b1ff-37b9-4dd0-a37a-3bc5aec52fa1" providerId="ADAL" clId="{1D0D03E3-3226-4873-A599-0FE1608CAE58}" dt="2024-09-12T08:29:55.339" v="3175" actId="790"/>
          <ac:spMkLst>
            <pc:docMk/>
            <pc:sldMk cId="4180017509" sldId="3342"/>
            <ac:spMk id="5" creationId="{252C69F9-A884-FB49-B5EC-19277D405908}"/>
          </ac:spMkLst>
        </pc:spChg>
        <pc:spChg chg="mod">
          <ac:chgData name="Hafiz Muhammad Salman" userId="47f5b1ff-37b9-4dd0-a37a-3bc5aec52fa1" providerId="ADAL" clId="{1D0D03E3-3226-4873-A599-0FE1608CAE58}" dt="2024-09-12T08:29:55.341" v="3176" actId="790"/>
          <ac:spMkLst>
            <pc:docMk/>
            <pc:sldMk cId="4180017509" sldId="3342"/>
            <ac:spMk id="6" creationId="{C58FC075-8AFE-3A41-B6D2-626F88F2A6A9}"/>
          </ac:spMkLst>
        </pc:spChg>
        <pc:spChg chg="mod">
          <ac:chgData name="Hafiz Muhammad Salman" userId="47f5b1ff-37b9-4dd0-a37a-3bc5aec52fa1" providerId="ADAL" clId="{1D0D03E3-3226-4873-A599-0FE1608CAE58}" dt="2024-09-12T08:29:55.342" v="3177" actId="790"/>
          <ac:spMkLst>
            <pc:docMk/>
            <pc:sldMk cId="4180017509" sldId="3342"/>
            <ac:spMk id="10" creationId="{CEDA155D-1DDA-5843-9CD7-CE54B598A268}"/>
          </ac:spMkLst>
        </pc:spChg>
        <pc:spChg chg="mod">
          <ac:chgData name="Hafiz Muhammad Salman" userId="47f5b1ff-37b9-4dd0-a37a-3bc5aec52fa1" providerId="ADAL" clId="{1D0D03E3-3226-4873-A599-0FE1608CAE58}" dt="2024-09-12T08:29:55.343" v="3178" actId="790"/>
          <ac:spMkLst>
            <pc:docMk/>
            <pc:sldMk cId="4180017509" sldId="3342"/>
            <ac:spMk id="11" creationId="{AFC29F99-FDF0-D34C-B5CB-30CBAAE54F3E}"/>
          </ac:spMkLst>
        </pc:spChg>
        <pc:spChg chg="mod">
          <ac:chgData name="Hafiz Muhammad Salman" userId="47f5b1ff-37b9-4dd0-a37a-3bc5aec52fa1" providerId="ADAL" clId="{1D0D03E3-3226-4873-A599-0FE1608CAE58}" dt="2024-09-12T08:29:55.344" v="3179" actId="790"/>
          <ac:spMkLst>
            <pc:docMk/>
            <pc:sldMk cId="4180017509" sldId="3342"/>
            <ac:spMk id="14" creationId="{A417F4E8-84B1-9F43-9665-ADBEFA67C71C}"/>
          </ac:spMkLst>
        </pc:spChg>
        <pc:spChg chg="mod">
          <ac:chgData name="Hafiz Muhammad Salman" userId="47f5b1ff-37b9-4dd0-a37a-3bc5aec52fa1" providerId="ADAL" clId="{1D0D03E3-3226-4873-A599-0FE1608CAE58}" dt="2024-09-12T08:29:55.345" v="3180" actId="790"/>
          <ac:spMkLst>
            <pc:docMk/>
            <pc:sldMk cId="4180017509" sldId="3342"/>
            <ac:spMk id="15" creationId="{E6F8644F-ED8B-6B47-9CBA-FDD60F28E330}"/>
          </ac:spMkLst>
        </pc:spChg>
        <pc:spChg chg="mod">
          <ac:chgData name="Hafiz Muhammad Salman" userId="47f5b1ff-37b9-4dd0-a37a-3bc5aec52fa1" providerId="ADAL" clId="{1D0D03E3-3226-4873-A599-0FE1608CAE58}" dt="2024-09-12T08:29:55.346" v="3181" actId="790"/>
          <ac:spMkLst>
            <pc:docMk/>
            <pc:sldMk cId="4180017509" sldId="3342"/>
            <ac:spMk id="17" creationId="{2E47F739-CAB1-3948-B4EC-3080B3074C3B}"/>
          </ac:spMkLst>
        </pc:spChg>
        <pc:spChg chg="mod">
          <ac:chgData name="Hafiz Muhammad Salman" userId="47f5b1ff-37b9-4dd0-a37a-3bc5aec52fa1" providerId="ADAL" clId="{1D0D03E3-3226-4873-A599-0FE1608CAE58}" dt="2024-09-12T08:29:55.347" v="3182" actId="790"/>
          <ac:spMkLst>
            <pc:docMk/>
            <pc:sldMk cId="4180017509" sldId="3342"/>
            <ac:spMk id="18" creationId="{EF2D9D33-2CE7-D54F-B412-4B332584DCD1}"/>
          </ac:spMkLst>
        </pc:spChg>
        <pc:spChg chg="mod">
          <ac:chgData name="Hafiz Muhammad Salman" userId="47f5b1ff-37b9-4dd0-a37a-3bc5aec52fa1" providerId="ADAL" clId="{1D0D03E3-3226-4873-A599-0FE1608CAE58}" dt="2024-09-12T08:29:55.348" v="3183" actId="790"/>
          <ac:spMkLst>
            <pc:docMk/>
            <pc:sldMk cId="4180017509" sldId="3342"/>
            <ac:spMk id="19" creationId="{DD41803F-1D7B-B746-A581-F72FC543F88C}"/>
          </ac:spMkLst>
        </pc:spChg>
        <pc:spChg chg="mod">
          <ac:chgData name="Hafiz Muhammad Salman" userId="47f5b1ff-37b9-4dd0-a37a-3bc5aec52fa1" providerId="ADAL" clId="{1D0D03E3-3226-4873-A599-0FE1608CAE58}" dt="2024-09-12T08:29:55.349" v="3184" actId="790"/>
          <ac:spMkLst>
            <pc:docMk/>
            <pc:sldMk cId="4180017509" sldId="3342"/>
            <ac:spMk id="20" creationId="{BB4B3D40-809B-6A42-91FD-3396D4C74513}"/>
          </ac:spMkLst>
        </pc:spChg>
        <pc:spChg chg="mod">
          <ac:chgData name="Hafiz Muhammad Salman" userId="47f5b1ff-37b9-4dd0-a37a-3bc5aec52fa1" providerId="ADAL" clId="{1D0D03E3-3226-4873-A599-0FE1608CAE58}" dt="2024-09-12T08:29:55.350" v="3185" actId="790"/>
          <ac:spMkLst>
            <pc:docMk/>
            <pc:sldMk cId="4180017509" sldId="3342"/>
            <ac:spMk id="21" creationId="{6A4D81B8-4664-134E-9DCF-2C18C144137F}"/>
          </ac:spMkLst>
        </pc:spChg>
        <pc:spChg chg="mod">
          <ac:chgData name="Hafiz Muhammad Salman" userId="47f5b1ff-37b9-4dd0-a37a-3bc5aec52fa1" providerId="ADAL" clId="{1D0D03E3-3226-4873-A599-0FE1608CAE58}" dt="2024-09-12T08:29:55.351" v="3186" actId="790"/>
          <ac:spMkLst>
            <pc:docMk/>
            <pc:sldMk cId="4180017509" sldId="3342"/>
            <ac:spMk id="23" creationId="{CA6A89CD-9CA3-6740-A6B0-FD279890F694}"/>
          </ac:spMkLst>
        </pc:spChg>
        <pc:spChg chg="mod">
          <ac:chgData name="Hafiz Muhammad Salman" userId="47f5b1ff-37b9-4dd0-a37a-3bc5aec52fa1" providerId="ADAL" clId="{1D0D03E3-3226-4873-A599-0FE1608CAE58}" dt="2024-09-12T08:29:55.352" v="3187" actId="790"/>
          <ac:spMkLst>
            <pc:docMk/>
            <pc:sldMk cId="4180017509" sldId="3342"/>
            <ac:spMk id="24" creationId="{98E3418F-6499-CB48-A908-328059A33C34}"/>
          </ac:spMkLst>
        </pc:spChg>
        <pc:spChg chg="mod">
          <ac:chgData name="Hafiz Muhammad Salman" userId="47f5b1ff-37b9-4dd0-a37a-3bc5aec52fa1" providerId="ADAL" clId="{1D0D03E3-3226-4873-A599-0FE1608CAE58}" dt="2024-09-12T08:29:55.353" v="3188" actId="790"/>
          <ac:spMkLst>
            <pc:docMk/>
            <pc:sldMk cId="4180017509" sldId="3342"/>
            <ac:spMk id="26" creationId="{37D5B599-E4A7-394B-ADEF-C7D19C14F728}"/>
          </ac:spMkLst>
        </pc:spChg>
        <pc:spChg chg="mod">
          <ac:chgData name="Hafiz Muhammad Salman" userId="47f5b1ff-37b9-4dd0-a37a-3bc5aec52fa1" providerId="ADAL" clId="{1D0D03E3-3226-4873-A599-0FE1608CAE58}" dt="2024-09-12T08:29:55.354" v="3189" actId="790"/>
          <ac:spMkLst>
            <pc:docMk/>
            <pc:sldMk cId="4180017509" sldId="3342"/>
            <ac:spMk id="27" creationId="{3B57785F-C6E0-6040-9FCF-AA71FF64ED92}"/>
          </ac:spMkLst>
        </pc:spChg>
        <pc:spChg chg="mod">
          <ac:chgData name="Hafiz Muhammad Salman" userId="47f5b1ff-37b9-4dd0-a37a-3bc5aec52fa1" providerId="ADAL" clId="{1D0D03E3-3226-4873-A599-0FE1608CAE58}" dt="2024-09-12T08:29:55.355" v="3190" actId="790"/>
          <ac:spMkLst>
            <pc:docMk/>
            <pc:sldMk cId="4180017509" sldId="3342"/>
            <ac:spMk id="29" creationId="{AF226D3D-E3A6-7D43-845C-D25F30D759B3}"/>
          </ac:spMkLst>
        </pc:spChg>
        <pc:spChg chg="mod">
          <ac:chgData name="Hafiz Muhammad Salman" userId="47f5b1ff-37b9-4dd0-a37a-3bc5aec52fa1" providerId="ADAL" clId="{1D0D03E3-3226-4873-A599-0FE1608CAE58}" dt="2024-09-12T08:29:55.356" v="3191" actId="790"/>
          <ac:spMkLst>
            <pc:docMk/>
            <pc:sldMk cId="4180017509" sldId="3342"/>
            <ac:spMk id="30" creationId="{DD63CC32-F4F0-A94A-AFFF-B1FAFF522B17}"/>
          </ac:spMkLst>
        </pc:spChg>
        <pc:spChg chg="del mod">
          <ac:chgData name="Hafiz Muhammad Salman" userId="47f5b1ff-37b9-4dd0-a37a-3bc5aec52fa1" providerId="ADAL" clId="{1D0D03E3-3226-4873-A599-0FE1608CAE58}" dt="2024-09-12T08:32:03.781" v="3234" actId="478"/>
          <ac:spMkLst>
            <pc:docMk/>
            <pc:sldMk cId="4180017509" sldId="3342"/>
            <ac:spMk id="34" creationId="{1FF29AAF-4CFA-3943-9C28-6FD760792CAB}"/>
          </ac:spMkLst>
        </pc:spChg>
        <pc:spChg chg="mod">
          <ac:chgData name="Hafiz Muhammad Salman" userId="47f5b1ff-37b9-4dd0-a37a-3bc5aec52fa1" providerId="ADAL" clId="{1D0D03E3-3226-4873-A599-0FE1608CAE58}" dt="2024-09-12T08:29:55.358" v="3193" actId="790"/>
          <ac:spMkLst>
            <pc:docMk/>
            <pc:sldMk cId="4180017509" sldId="3342"/>
            <ac:spMk id="35" creationId="{DC37A55A-4F79-924C-971E-B9BD9F0397ED}"/>
          </ac:spMkLst>
        </pc:spChg>
        <pc:spChg chg="mod">
          <ac:chgData name="Hafiz Muhammad Salman" userId="47f5b1ff-37b9-4dd0-a37a-3bc5aec52fa1" providerId="ADAL" clId="{1D0D03E3-3226-4873-A599-0FE1608CAE58}" dt="2024-09-12T08:29:55.359" v="3194" actId="790"/>
          <ac:spMkLst>
            <pc:docMk/>
            <pc:sldMk cId="4180017509" sldId="3342"/>
            <ac:spMk id="36" creationId="{F94B5E8B-2444-C549-A407-3A152351E19E}"/>
          </ac:spMkLst>
        </pc:spChg>
        <pc:spChg chg="mod">
          <ac:chgData name="Hafiz Muhammad Salman" userId="47f5b1ff-37b9-4dd0-a37a-3bc5aec52fa1" providerId="ADAL" clId="{1D0D03E3-3226-4873-A599-0FE1608CAE58}" dt="2024-09-12T08:29:55.360" v="3195" actId="790"/>
          <ac:spMkLst>
            <pc:docMk/>
            <pc:sldMk cId="4180017509" sldId="3342"/>
            <ac:spMk id="37" creationId="{C708BB5B-E552-9A49-BDEE-9015728798C8}"/>
          </ac:spMkLst>
        </pc:spChg>
        <pc:spChg chg="mod">
          <ac:chgData name="Hafiz Muhammad Salman" userId="47f5b1ff-37b9-4dd0-a37a-3bc5aec52fa1" providerId="ADAL" clId="{1D0D03E3-3226-4873-A599-0FE1608CAE58}" dt="2024-09-12T08:29:55.360" v="3196" actId="790"/>
          <ac:spMkLst>
            <pc:docMk/>
            <pc:sldMk cId="4180017509" sldId="3342"/>
            <ac:spMk id="38" creationId="{D65FDBD9-E006-DB40-B1D7-F24E9D1BF946}"/>
          </ac:spMkLst>
        </pc:spChg>
        <pc:spChg chg="mod">
          <ac:chgData name="Hafiz Muhammad Salman" userId="47f5b1ff-37b9-4dd0-a37a-3bc5aec52fa1" providerId="ADAL" clId="{1D0D03E3-3226-4873-A599-0FE1608CAE58}" dt="2024-09-12T08:29:55.361" v="3197" actId="790"/>
          <ac:spMkLst>
            <pc:docMk/>
            <pc:sldMk cId="4180017509" sldId="3342"/>
            <ac:spMk id="39" creationId="{9A3342AD-C584-BF4E-A82D-FA3B640BBC25}"/>
          </ac:spMkLst>
        </pc:spChg>
      </pc:sldChg>
      <pc:sldChg chg="modSp del mod">
        <pc:chgData name="Hafiz Muhammad Salman" userId="47f5b1ff-37b9-4dd0-a37a-3bc5aec52fa1" providerId="ADAL" clId="{1D0D03E3-3226-4873-A599-0FE1608CAE58}" dt="2024-09-12T08:56:43.157" v="3388" actId="47"/>
        <pc:sldMkLst>
          <pc:docMk/>
          <pc:sldMk cId="1201249720" sldId="3344"/>
        </pc:sldMkLst>
        <pc:spChg chg="mod">
          <ac:chgData name="Hafiz Muhammad Salman" userId="47f5b1ff-37b9-4dd0-a37a-3bc5aec52fa1" providerId="ADAL" clId="{1D0D03E3-3226-4873-A599-0FE1608CAE58}" dt="2024-09-12T08:32:52.899" v="3299" actId="790"/>
          <ac:spMkLst>
            <pc:docMk/>
            <pc:sldMk cId="1201249720" sldId="3344"/>
            <ac:spMk id="4" creationId="{07F64CA1-D62D-444A-ADF0-6AC9D4647C08}"/>
          </ac:spMkLst>
        </pc:spChg>
        <pc:spChg chg="mod">
          <ac:chgData name="Hafiz Muhammad Salman" userId="47f5b1ff-37b9-4dd0-a37a-3bc5aec52fa1" providerId="ADAL" clId="{1D0D03E3-3226-4873-A599-0FE1608CAE58}" dt="2024-09-12T08:32:52.900" v="3300" actId="790"/>
          <ac:spMkLst>
            <pc:docMk/>
            <pc:sldMk cId="1201249720" sldId="3344"/>
            <ac:spMk id="5" creationId="{B5E8C852-B1A9-9B4A-84C6-DD29823CFE8C}"/>
          </ac:spMkLst>
        </pc:spChg>
        <pc:spChg chg="mod">
          <ac:chgData name="Hafiz Muhammad Salman" userId="47f5b1ff-37b9-4dd0-a37a-3bc5aec52fa1" providerId="ADAL" clId="{1D0D03E3-3226-4873-A599-0FE1608CAE58}" dt="2024-09-12T08:32:52.901" v="3301" actId="790"/>
          <ac:spMkLst>
            <pc:docMk/>
            <pc:sldMk cId="1201249720" sldId="3344"/>
            <ac:spMk id="6" creationId="{3A73D747-EA3A-2D49-8E8C-32B6F78C8297}"/>
          </ac:spMkLst>
        </pc:spChg>
        <pc:spChg chg="mod">
          <ac:chgData name="Hafiz Muhammad Salman" userId="47f5b1ff-37b9-4dd0-a37a-3bc5aec52fa1" providerId="ADAL" clId="{1D0D03E3-3226-4873-A599-0FE1608CAE58}" dt="2024-09-12T08:32:52.902" v="3302" actId="790"/>
          <ac:spMkLst>
            <pc:docMk/>
            <pc:sldMk cId="1201249720" sldId="3344"/>
            <ac:spMk id="7" creationId="{BAA90A85-0A64-764C-B667-FD124F4B695F}"/>
          </ac:spMkLst>
        </pc:spChg>
        <pc:spChg chg="mod">
          <ac:chgData name="Hafiz Muhammad Salman" userId="47f5b1ff-37b9-4dd0-a37a-3bc5aec52fa1" providerId="ADAL" clId="{1D0D03E3-3226-4873-A599-0FE1608CAE58}" dt="2024-09-12T08:32:52.903" v="3303" actId="790"/>
          <ac:spMkLst>
            <pc:docMk/>
            <pc:sldMk cId="1201249720" sldId="3344"/>
            <ac:spMk id="8" creationId="{3C960447-1BE1-E74C-994C-F72DD423E568}"/>
          </ac:spMkLst>
        </pc:spChg>
        <pc:spChg chg="mod">
          <ac:chgData name="Hafiz Muhammad Salman" userId="47f5b1ff-37b9-4dd0-a37a-3bc5aec52fa1" providerId="ADAL" clId="{1D0D03E3-3226-4873-A599-0FE1608CAE58}" dt="2024-09-12T08:32:52.904" v="3304" actId="790"/>
          <ac:spMkLst>
            <pc:docMk/>
            <pc:sldMk cId="1201249720" sldId="3344"/>
            <ac:spMk id="9" creationId="{80F54D06-F2C3-B84E-B434-C61CAFD5FD43}"/>
          </ac:spMkLst>
        </pc:spChg>
        <pc:spChg chg="mod">
          <ac:chgData name="Hafiz Muhammad Salman" userId="47f5b1ff-37b9-4dd0-a37a-3bc5aec52fa1" providerId="ADAL" clId="{1D0D03E3-3226-4873-A599-0FE1608CAE58}" dt="2024-09-12T08:32:52.905" v="3305" actId="790"/>
          <ac:spMkLst>
            <pc:docMk/>
            <pc:sldMk cId="1201249720" sldId="3344"/>
            <ac:spMk id="10" creationId="{88C41DCC-8CE5-FD42-B678-10D070C7A578}"/>
          </ac:spMkLst>
        </pc:spChg>
        <pc:spChg chg="mod">
          <ac:chgData name="Hafiz Muhammad Salman" userId="47f5b1ff-37b9-4dd0-a37a-3bc5aec52fa1" providerId="ADAL" clId="{1D0D03E3-3226-4873-A599-0FE1608CAE58}" dt="2024-09-12T08:32:52.906" v="3306" actId="790"/>
          <ac:spMkLst>
            <pc:docMk/>
            <pc:sldMk cId="1201249720" sldId="3344"/>
            <ac:spMk id="11" creationId="{D821AD1D-E454-C34C-BBFE-B7398787FF57}"/>
          </ac:spMkLst>
        </pc:spChg>
        <pc:spChg chg="mod">
          <ac:chgData name="Hafiz Muhammad Salman" userId="47f5b1ff-37b9-4dd0-a37a-3bc5aec52fa1" providerId="ADAL" clId="{1D0D03E3-3226-4873-A599-0FE1608CAE58}" dt="2024-09-12T08:32:52.907" v="3307" actId="790"/>
          <ac:spMkLst>
            <pc:docMk/>
            <pc:sldMk cId="1201249720" sldId="3344"/>
            <ac:spMk id="14" creationId="{C3D34ED9-4460-7740-82B1-F3249AB844BF}"/>
          </ac:spMkLst>
        </pc:spChg>
        <pc:spChg chg="mod">
          <ac:chgData name="Hafiz Muhammad Salman" userId="47f5b1ff-37b9-4dd0-a37a-3bc5aec52fa1" providerId="ADAL" clId="{1D0D03E3-3226-4873-A599-0FE1608CAE58}" dt="2024-09-12T08:32:52.908" v="3308" actId="790"/>
          <ac:spMkLst>
            <pc:docMk/>
            <pc:sldMk cId="1201249720" sldId="3344"/>
            <ac:spMk id="15" creationId="{B86B9A65-A50C-164B-8815-3384A0768F7D}"/>
          </ac:spMkLst>
        </pc:spChg>
        <pc:spChg chg="mod">
          <ac:chgData name="Hafiz Muhammad Salman" userId="47f5b1ff-37b9-4dd0-a37a-3bc5aec52fa1" providerId="ADAL" clId="{1D0D03E3-3226-4873-A599-0FE1608CAE58}" dt="2024-09-12T08:32:52.909" v="3309" actId="790"/>
          <ac:spMkLst>
            <pc:docMk/>
            <pc:sldMk cId="1201249720" sldId="3344"/>
            <ac:spMk id="17" creationId="{6FE7E346-00CE-0C4B-8EEC-15694DBB6A97}"/>
          </ac:spMkLst>
        </pc:spChg>
        <pc:spChg chg="mod">
          <ac:chgData name="Hafiz Muhammad Salman" userId="47f5b1ff-37b9-4dd0-a37a-3bc5aec52fa1" providerId="ADAL" clId="{1D0D03E3-3226-4873-A599-0FE1608CAE58}" dt="2024-09-12T08:32:52.911" v="3310" actId="790"/>
          <ac:spMkLst>
            <pc:docMk/>
            <pc:sldMk cId="1201249720" sldId="3344"/>
            <ac:spMk id="18" creationId="{17E5D323-EDF7-C646-BDCA-C7F00708EBD9}"/>
          </ac:spMkLst>
        </pc:spChg>
        <pc:spChg chg="mod">
          <ac:chgData name="Hafiz Muhammad Salman" userId="47f5b1ff-37b9-4dd0-a37a-3bc5aec52fa1" providerId="ADAL" clId="{1D0D03E3-3226-4873-A599-0FE1608CAE58}" dt="2024-09-12T08:32:52.912" v="3311" actId="790"/>
          <ac:spMkLst>
            <pc:docMk/>
            <pc:sldMk cId="1201249720" sldId="3344"/>
            <ac:spMk id="20" creationId="{EA9E0724-8F39-954F-8D63-B4CDAFCDC8FC}"/>
          </ac:spMkLst>
        </pc:spChg>
        <pc:spChg chg="mod">
          <ac:chgData name="Hafiz Muhammad Salman" userId="47f5b1ff-37b9-4dd0-a37a-3bc5aec52fa1" providerId="ADAL" clId="{1D0D03E3-3226-4873-A599-0FE1608CAE58}" dt="2024-09-12T08:32:52.914" v="3312" actId="790"/>
          <ac:spMkLst>
            <pc:docMk/>
            <pc:sldMk cId="1201249720" sldId="3344"/>
            <ac:spMk id="21" creationId="{4690B866-B192-D946-9567-BF7F170D4B9E}"/>
          </ac:spMkLst>
        </pc:spChg>
        <pc:spChg chg="mod">
          <ac:chgData name="Hafiz Muhammad Salman" userId="47f5b1ff-37b9-4dd0-a37a-3bc5aec52fa1" providerId="ADAL" clId="{1D0D03E3-3226-4873-A599-0FE1608CAE58}" dt="2024-09-12T08:32:52.915" v="3313" actId="790"/>
          <ac:spMkLst>
            <pc:docMk/>
            <pc:sldMk cId="1201249720" sldId="3344"/>
            <ac:spMk id="23" creationId="{34C75438-0B48-EE47-BF7B-B5EE10800184}"/>
          </ac:spMkLst>
        </pc:spChg>
        <pc:spChg chg="mod">
          <ac:chgData name="Hafiz Muhammad Salman" userId="47f5b1ff-37b9-4dd0-a37a-3bc5aec52fa1" providerId="ADAL" clId="{1D0D03E3-3226-4873-A599-0FE1608CAE58}" dt="2024-09-12T08:32:52.916" v="3314" actId="790"/>
          <ac:spMkLst>
            <pc:docMk/>
            <pc:sldMk cId="1201249720" sldId="3344"/>
            <ac:spMk id="24" creationId="{BDD60804-36CF-0F45-AB6A-B60E8553D035}"/>
          </ac:spMkLst>
        </pc:spChg>
        <pc:spChg chg="mod">
          <ac:chgData name="Hafiz Muhammad Salman" userId="47f5b1ff-37b9-4dd0-a37a-3bc5aec52fa1" providerId="ADAL" clId="{1D0D03E3-3226-4873-A599-0FE1608CAE58}" dt="2024-09-12T08:32:52.917" v="3315" actId="790"/>
          <ac:spMkLst>
            <pc:docMk/>
            <pc:sldMk cId="1201249720" sldId="3344"/>
            <ac:spMk id="26" creationId="{D6492D08-5B77-6B4B-B6A2-4CC88CEB4064}"/>
          </ac:spMkLst>
        </pc:spChg>
        <pc:spChg chg="mod">
          <ac:chgData name="Hafiz Muhammad Salman" userId="47f5b1ff-37b9-4dd0-a37a-3bc5aec52fa1" providerId="ADAL" clId="{1D0D03E3-3226-4873-A599-0FE1608CAE58}" dt="2024-09-12T08:32:52.918" v="3316" actId="790"/>
          <ac:spMkLst>
            <pc:docMk/>
            <pc:sldMk cId="1201249720" sldId="3344"/>
            <ac:spMk id="27" creationId="{A502B025-3A93-044D-A8B7-41672CA4B6D1}"/>
          </ac:spMkLst>
        </pc:spChg>
        <pc:spChg chg="mod">
          <ac:chgData name="Hafiz Muhammad Salman" userId="47f5b1ff-37b9-4dd0-a37a-3bc5aec52fa1" providerId="ADAL" clId="{1D0D03E3-3226-4873-A599-0FE1608CAE58}" dt="2024-09-12T08:32:52.919" v="3317" actId="790"/>
          <ac:spMkLst>
            <pc:docMk/>
            <pc:sldMk cId="1201249720" sldId="3344"/>
            <ac:spMk id="30" creationId="{17B43B84-5DC2-9541-B59B-A4BD520F2DB8}"/>
          </ac:spMkLst>
        </pc:spChg>
        <pc:spChg chg="mod">
          <ac:chgData name="Hafiz Muhammad Salman" userId="47f5b1ff-37b9-4dd0-a37a-3bc5aec52fa1" providerId="ADAL" clId="{1D0D03E3-3226-4873-A599-0FE1608CAE58}" dt="2024-09-12T08:32:52.920" v="3318" actId="790"/>
          <ac:spMkLst>
            <pc:docMk/>
            <pc:sldMk cId="1201249720" sldId="3344"/>
            <ac:spMk id="31" creationId="{F9F426EC-ACE2-8B42-B6A5-50EB713DEE0D}"/>
          </ac:spMkLst>
        </pc:spChg>
        <pc:spChg chg="mod">
          <ac:chgData name="Hafiz Muhammad Salman" userId="47f5b1ff-37b9-4dd0-a37a-3bc5aec52fa1" providerId="ADAL" clId="{1D0D03E3-3226-4873-A599-0FE1608CAE58}" dt="2024-09-12T08:32:52.920" v="3319" actId="790"/>
          <ac:spMkLst>
            <pc:docMk/>
            <pc:sldMk cId="1201249720" sldId="3344"/>
            <ac:spMk id="32" creationId="{8E810628-CA79-564C-874B-4A5E09A13874}"/>
          </ac:spMkLst>
        </pc:spChg>
        <pc:spChg chg="mod">
          <ac:chgData name="Hafiz Muhammad Salman" userId="47f5b1ff-37b9-4dd0-a37a-3bc5aec52fa1" providerId="ADAL" clId="{1D0D03E3-3226-4873-A599-0FE1608CAE58}" dt="2024-09-12T08:32:52.921" v="3320" actId="790"/>
          <ac:spMkLst>
            <pc:docMk/>
            <pc:sldMk cId="1201249720" sldId="3344"/>
            <ac:spMk id="33" creationId="{35D7670F-ABAB-FF45-B6E9-CE378666B805}"/>
          </ac:spMkLst>
        </pc:spChg>
        <pc:spChg chg="mod">
          <ac:chgData name="Hafiz Muhammad Salman" userId="47f5b1ff-37b9-4dd0-a37a-3bc5aec52fa1" providerId="ADAL" clId="{1D0D03E3-3226-4873-A599-0FE1608CAE58}" dt="2024-09-12T08:32:52.922" v="3321" actId="790"/>
          <ac:spMkLst>
            <pc:docMk/>
            <pc:sldMk cId="1201249720" sldId="3344"/>
            <ac:spMk id="34" creationId="{4C54768A-8569-B84A-BB8C-FBB2EE89DEF8}"/>
          </ac:spMkLst>
        </pc:spChg>
        <pc:spChg chg="mod">
          <ac:chgData name="Hafiz Muhammad Salman" userId="47f5b1ff-37b9-4dd0-a37a-3bc5aec52fa1" providerId="ADAL" clId="{1D0D03E3-3226-4873-A599-0FE1608CAE58}" dt="2024-09-12T08:32:52.923" v="3322" actId="790"/>
          <ac:spMkLst>
            <pc:docMk/>
            <pc:sldMk cId="1201249720" sldId="3344"/>
            <ac:spMk id="35" creationId="{A8463137-D27E-2047-A040-4DA8CE787867}"/>
          </ac:spMkLst>
        </pc:spChg>
      </pc:sldChg>
      <pc:sldChg chg="del">
        <pc:chgData name="Hafiz Muhammad Salman" userId="47f5b1ff-37b9-4dd0-a37a-3bc5aec52fa1" providerId="ADAL" clId="{1D0D03E3-3226-4873-A599-0FE1608CAE58}" dt="2024-09-11T13:21:51.169" v="2600" actId="47"/>
        <pc:sldMkLst>
          <pc:docMk/>
          <pc:sldMk cId="3092231122" sldId="3344"/>
        </pc:sldMkLst>
      </pc:sldChg>
      <pc:sldChg chg="addSp delSp modSp mod modNotesTx">
        <pc:chgData name="Hafiz Muhammad Salman" userId="47f5b1ff-37b9-4dd0-a37a-3bc5aec52fa1" providerId="ADAL" clId="{1D0D03E3-3226-4873-A599-0FE1608CAE58}" dt="2024-09-19T08:08:07.112" v="5641" actId="1036"/>
        <pc:sldMkLst>
          <pc:docMk/>
          <pc:sldMk cId="4220538765" sldId="3345"/>
        </pc:sldMkLst>
        <pc:spChg chg="mod">
          <ac:chgData name="Hafiz Muhammad Salman" userId="47f5b1ff-37b9-4dd0-a37a-3bc5aec52fa1" providerId="ADAL" clId="{1D0D03E3-3226-4873-A599-0FE1608CAE58}" dt="2024-09-18T15:08:07.529" v="5548" actId="1036"/>
          <ac:spMkLst>
            <pc:docMk/>
            <pc:sldMk cId="4220538765" sldId="3345"/>
            <ac:spMk id="4" creationId="{70A575A9-DDF8-694D-9D20-C7F2E21BF414}"/>
          </ac:spMkLst>
        </pc:spChg>
        <pc:spChg chg="mod">
          <ac:chgData name="Hafiz Muhammad Salman" userId="47f5b1ff-37b9-4dd0-a37a-3bc5aec52fa1" providerId="ADAL" clId="{1D0D03E3-3226-4873-A599-0FE1608CAE58}" dt="2024-09-18T15:08:07.529" v="5548" actId="1036"/>
          <ac:spMkLst>
            <pc:docMk/>
            <pc:sldMk cId="4220538765" sldId="3345"/>
            <ac:spMk id="5" creationId="{9193706F-BD69-9A41-A191-0337AD933C49}"/>
          </ac:spMkLst>
        </pc:spChg>
        <pc:spChg chg="mod">
          <ac:chgData name="Hafiz Muhammad Salman" userId="47f5b1ff-37b9-4dd0-a37a-3bc5aec52fa1" providerId="ADAL" clId="{1D0D03E3-3226-4873-A599-0FE1608CAE58}" dt="2024-09-18T15:08:07.529" v="5548" actId="1036"/>
          <ac:spMkLst>
            <pc:docMk/>
            <pc:sldMk cId="4220538765" sldId="3345"/>
            <ac:spMk id="6" creationId="{31F1F08F-EE9C-554F-A670-1C2EA3FCAD59}"/>
          </ac:spMkLst>
        </pc:spChg>
        <pc:spChg chg="mod">
          <ac:chgData name="Hafiz Muhammad Salman" userId="47f5b1ff-37b9-4dd0-a37a-3bc5aec52fa1" providerId="ADAL" clId="{1D0D03E3-3226-4873-A599-0FE1608CAE58}" dt="2024-09-18T15:08:07.529" v="5548" actId="1036"/>
          <ac:spMkLst>
            <pc:docMk/>
            <pc:sldMk cId="4220538765" sldId="3345"/>
            <ac:spMk id="7" creationId="{27FC62CA-58E7-4443-A500-14D4DABD918F}"/>
          </ac:spMkLst>
        </pc:spChg>
        <pc:spChg chg="mod">
          <ac:chgData name="Hafiz Muhammad Salman" userId="47f5b1ff-37b9-4dd0-a37a-3bc5aec52fa1" providerId="ADAL" clId="{1D0D03E3-3226-4873-A599-0FE1608CAE58}" dt="2024-09-18T15:08:07.529" v="5548" actId="1036"/>
          <ac:spMkLst>
            <pc:docMk/>
            <pc:sldMk cId="4220538765" sldId="3345"/>
            <ac:spMk id="8" creationId="{988146A1-9CBF-CB4A-8D60-552C8C87F6BF}"/>
          </ac:spMkLst>
        </pc:spChg>
        <pc:spChg chg="mod">
          <ac:chgData name="Hafiz Muhammad Salman" userId="47f5b1ff-37b9-4dd0-a37a-3bc5aec52fa1" providerId="ADAL" clId="{1D0D03E3-3226-4873-A599-0FE1608CAE58}" dt="2024-09-12T08:43:00.215" v="3387" actId="20577"/>
          <ac:spMkLst>
            <pc:docMk/>
            <pc:sldMk cId="4220538765" sldId="3345"/>
            <ac:spMk id="9" creationId="{573B97F7-0095-47D2-94DF-CC0764FDBF0E}"/>
          </ac:spMkLst>
        </pc:spChg>
        <pc:spChg chg="mod">
          <ac:chgData name="Hafiz Muhammad Salman" userId="47f5b1ff-37b9-4dd0-a37a-3bc5aec52fa1" providerId="ADAL" clId="{1D0D03E3-3226-4873-A599-0FE1608CAE58}" dt="2024-09-18T15:06:47.639" v="5380" actId="1037"/>
          <ac:spMkLst>
            <pc:docMk/>
            <pc:sldMk cId="4220538765" sldId="3345"/>
            <ac:spMk id="11" creationId="{E9EF1F59-FFA9-47D9-84CD-1CD1C7D54536}"/>
          </ac:spMkLst>
        </pc:spChg>
        <pc:spChg chg="mod">
          <ac:chgData name="Hafiz Muhammad Salman" userId="47f5b1ff-37b9-4dd0-a37a-3bc5aec52fa1" providerId="ADAL" clId="{1D0D03E3-3226-4873-A599-0FE1608CAE58}" dt="2024-09-12T08:32:52.476" v="3274" actId="790"/>
          <ac:spMkLst>
            <pc:docMk/>
            <pc:sldMk cId="4220538765" sldId="3345"/>
            <ac:spMk id="14" creationId="{5D12FDF8-4B39-3344-A782-1E5B5D614200}"/>
          </ac:spMkLst>
        </pc:spChg>
        <pc:spChg chg="mod">
          <ac:chgData name="Hafiz Muhammad Salman" userId="47f5b1ff-37b9-4dd0-a37a-3bc5aec52fa1" providerId="ADAL" clId="{1D0D03E3-3226-4873-A599-0FE1608CAE58}" dt="2024-09-12T08:32:52.477" v="3275" actId="790"/>
          <ac:spMkLst>
            <pc:docMk/>
            <pc:sldMk cId="4220538765" sldId="3345"/>
            <ac:spMk id="15" creationId="{07E02D11-C608-ED45-8792-4410CE1E1214}"/>
          </ac:spMkLst>
        </pc:spChg>
        <pc:spChg chg="mod">
          <ac:chgData name="Hafiz Muhammad Salman" userId="47f5b1ff-37b9-4dd0-a37a-3bc5aec52fa1" providerId="ADAL" clId="{1D0D03E3-3226-4873-A599-0FE1608CAE58}" dt="2024-09-12T09:13:02.677" v="3554" actId="255"/>
          <ac:spMkLst>
            <pc:docMk/>
            <pc:sldMk cId="4220538765" sldId="3345"/>
            <ac:spMk id="17" creationId="{086933A3-07FB-5046-BE63-855E29EDE268}"/>
          </ac:spMkLst>
        </pc:spChg>
        <pc:spChg chg="mod">
          <ac:chgData name="Hafiz Muhammad Salman" userId="47f5b1ff-37b9-4dd0-a37a-3bc5aec52fa1" providerId="ADAL" clId="{1D0D03E3-3226-4873-A599-0FE1608CAE58}" dt="2024-09-12T09:15:07.954" v="3590" actId="1038"/>
          <ac:spMkLst>
            <pc:docMk/>
            <pc:sldMk cId="4220538765" sldId="3345"/>
            <ac:spMk id="20" creationId="{58F09A68-6E53-4C41-AE56-9202A93E3D78}"/>
          </ac:spMkLst>
        </pc:spChg>
        <pc:spChg chg="mod">
          <ac:chgData name="Hafiz Muhammad Salman" userId="47f5b1ff-37b9-4dd0-a37a-3bc5aec52fa1" providerId="ADAL" clId="{1D0D03E3-3226-4873-A599-0FE1608CAE58}" dt="2024-09-12T09:09:05.588" v="3526"/>
          <ac:spMkLst>
            <pc:docMk/>
            <pc:sldMk cId="4220538765" sldId="3345"/>
            <ac:spMk id="21" creationId="{7ED02702-1082-444F-A80B-BC8E4B37F491}"/>
          </ac:spMkLst>
        </pc:spChg>
        <pc:spChg chg="mod">
          <ac:chgData name="Hafiz Muhammad Salman" userId="47f5b1ff-37b9-4dd0-a37a-3bc5aec52fa1" providerId="ADAL" clId="{1D0D03E3-3226-4873-A599-0FE1608CAE58}" dt="2024-09-18T08:09:20.625" v="4907" actId="1038"/>
          <ac:spMkLst>
            <pc:docMk/>
            <pc:sldMk cId="4220538765" sldId="3345"/>
            <ac:spMk id="23" creationId="{372B6B84-50B9-274F-81BC-B0D4CA47BF79}"/>
          </ac:spMkLst>
        </pc:spChg>
        <pc:spChg chg="mod">
          <ac:chgData name="Hafiz Muhammad Salman" userId="47f5b1ff-37b9-4dd0-a37a-3bc5aec52fa1" providerId="ADAL" clId="{1D0D03E3-3226-4873-A599-0FE1608CAE58}" dt="2024-09-18T08:09:20.625" v="4907" actId="1038"/>
          <ac:spMkLst>
            <pc:docMk/>
            <pc:sldMk cId="4220538765" sldId="3345"/>
            <ac:spMk id="24" creationId="{081A76C2-4329-014C-B517-93C49068FE6E}"/>
          </ac:spMkLst>
        </pc:spChg>
        <pc:spChg chg="mod">
          <ac:chgData name="Hafiz Muhammad Salman" userId="47f5b1ff-37b9-4dd0-a37a-3bc5aec52fa1" providerId="ADAL" clId="{1D0D03E3-3226-4873-A599-0FE1608CAE58}" dt="2024-09-18T08:09:20.625" v="4907" actId="1038"/>
          <ac:spMkLst>
            <pc:docMk/>
            <pc:sldMk cId="4220538765" sldId="3345"/>
            <ac:spMk id="26" creationId="{2F943FDD-EC8C-194D-8618-7FC551759E72}"/>
          </ac:spMkLst>
        </pc:spChg>
        <pc:spChg chg="mod">
          <ac:chgData name="Hafiz Muhammad Salman" userId="47f5b1ff-37b9-4dd0-a37a-3bc5aec52fa1" providerId="ADAL" clId="{1D0D03E3-3226-4873-A599-0FE1608CAE58}" dt="2024-09-18T08:09:20.625" v="4907" actId="1038"/>
          <ac:spMkLst>
            <pc:docMk/>
            <pc:sldMk cId="4220538765" sldId="3345"/>
            <ac:spMk id="27" creationId="{FDF1B26C-9A81-FC4C-8AEA-84B8E8147CE3}"/>
          </ac:spMkLst>
        </pc:spChg>
        <pc:spChg chg="mod">
          <ac:chgData name="Hafiz Muhammad Salman" userId="47f5b1ff-37b9-4dd0-a37a-3bc5aec52fa1" providerId="ADAL" clId="{1D0D03E3-3226-4873-A599-0FE1608CAE58}" dt="2024-09-18T15:02:47.201" v="5120" actId="20577"/>
          <ac:spMkLst>
            <pc:docMk/>
            <pc:sldMk cId="4220538765" sldId="3345"/>
            <ac:spMk id="28" creationId="{21C5D0BD-2573-CF45-A0B6-17C9037BC00C}"/>
          </ac:spMkLst>
        </pc:spChg>
        <pc:spChg chg="mod">
          <ac:chgData name="Hafiz Muhammad Salman" userId="47f5b1ff-37b9-4dd0-a37a-3bc5aec52fa1" providerId="ADAL" clId="{1D0D03E3-3226-4873-A599-0FE1608CAE58}" dt="2024-09-19T08:08:07.112" v="5641" actId="1036"/>
          <ac:spMkLst>
            <pc:docMk/>
            <pc:sldMk cId="4220538765" sldId="3345"/>
            <ac:spMk id="30" creationId="{BE75CD65-A8C6-3641-9952-E18C39EB9EBB}"/>
          </ac:spMkLst>
        </pc:spChg>
        <pc:spChg chg="mod">
          <ac:chgData name="Hafiz Muhammad Salman" userId="47f5b1ff-37b9-4dd0-a37a-3bc5aec52fa1" providerId="ADAL" clId="{1D0D03E3-3226-4873-A599-0FE1608CAE58}" dt="2024-09-19T08:08:07.112" v="5641" actId="1036"/>
          <ac:spMkLst>
            <pc:docMk/>
            <pc:sldMk cId="4220538765" sldId="3345"/>
            <ac:spMk id="31" creationId="{1255B249-9849-E74A-948D-EC66D814ABEE}"/>
          </ac:spMkLst>
        </pc:spChg>
        <pc:spChg chg="mod">
          <ac:chgData name="Hafiz Muhammad Salman" userId="47f5b1ff-37b9-4dd0-a37a-3bc5aec52fa1" providerId="ADAL" clId="{1D0D03E3-3226-4873-A599-0FE1608CAE58}" dt="2024-09-19T08:08:07.112" v="5641" actId="1036"/>
          <ac:spMkLst>
            <pc:docMk/>
            <pc:sldMk cId="4220538765" sldId="3345"/>
            <ac:spMk id="33" creationId="{1DEAD9EF-75D4-374B-A551-F7A7C45187CD}"/>
          </ac:spMkLst>
        </pc:spChg>
        <pc:spChg chg="mod">
          <ac:chgData name="Hafiz Muhammad Salman" userId="47f5b1ff-37b9-4dd0-a37a-3bc5aec52fa1" providerId="ADAL" clId="{1D0D03E3-3226-4873-A599-0FE1608CAE58}" dt="2024-09-19T08:08:07.112" v="5641" actId="1036"/>
          <ac:spMkLst>
            <pc:docMk/>
            <pc:sldMk cId="4220538765" sldId="3345"/>
            <ac:spMk id="34" creationId="{CC73FA0D-EAFB-E24D-AFB3-B286488E42B2}"/>
          </ac:spMkLst>
        </pc:spChg>
        <pc:spChg chg="mod">
          <ac:chgData name="Hafiz Muhammad Salman" userId="47f5b1ff-37b9-4dd0-a37a-3bc5aec52fa1" providerId="ADAL" clId="{1D0D03E3-3226-4873-A599-0FE1608CAE58}" dt="2024-09-19T08:08:07.112" v="5641" actId="1036"/>
          <ac:spMkLst>
            <pc:docMk/>
            <pc:sldMk cId="4220538765" sldId="3345"/>
            <ac:spMk id="35" creationId="{03299D72-7701-7045-9737-06E3AF0049FB}"/>
          </ac:spMkLst>
        </pc:spChg>
        <pc:spChg chg="mod">
          <ac:chgData name="Hafiz Muhammad Salman" userId="47f5b1ff-37b9-4dd0-a37a-3bc5aec52fa1" providerId="ADAL" clId="{1D0D03E3-3226-4873-A599-0FE1608CAE58}" dt="2024-09-18T15:08:07.529" v="5548" actId="1036"/>
          <ac:spMkLst>
            <pc:docMk/>
            <pc:sldMk cId="4220538765" sldId="3345"/>
            <ac:spMk id="37" creationId="{BD56DF10-ACD5-984F-828A-02B14A17356C}"/>
          </ac:spMkLst>
        </pc:spChg>
        <pc:spChg chg="mod">
          <ac:chgData name="Hafiz Muhammad Salman" userId="47f5b1ff-37b9-4dd0-a37a-3bc5aec52fa1" providerId="ADAL" clId="{1D0D03E3-3226-4873-A599-0FE1608CAE58}" dt="2024-09-18T15:08:07.529" v="5548" actId="1036"/>
          <ac:spMkLst>
            <pc:docMk/>
            <pc:sldMk cId="4220538765" sldId="3345"/>
            <ac:spMk id="38" creationId="{6DA34CD6-DBDF-9E46-9284-5CFB876B07F6}"/>
          </ac:spMkLst>
        </pc:spChg>
        <pc:spChg chg="mod">
          <ac:chgData name="Hafiz Muhammad Salman" userId="47f5b1ff-37b9-4dd0-a37a-3bc5aec52fa1" providerId="ADAL" clId="{1D0D03E3-3226-4873-A599-0FE1608CAE58}" dt="2024-09-18T15:08:07.529" v="5548" actId="1036"/>
          <ac:spMkLst>
            <pc:docMk/>
            <pc:sldMk cId="4220538765" sldId="3345"/>
            <ac:spMk id="40" creationId="{00C7CC85-7D0F-C343-A5DB-346E5328B0EB}"/>
          </ac:spMkLst>
        </pc:spChg>
        <pc:spChg chg="mod">
          <ac:chgData name="Hafiz Muhammad Salman" userId="47f5b1ff-37b9-4dd0-a37a-3bc5aec52fa1" providerId="ADAL" clId="{1D0D03E3-3226-4873-A599-0FE1608CAE58}" dt="2024-09-18T15:08:07.529" v="5548" actId="1036"/>
          <ac:spMkLst>
            <pc:docMk/>
            <pc:sldMk cId="4220538765" sldId="3345"/>
            <ac:spMk id="41" creationId="{4E65C334-044B-5C48-809E-E15548D5C6AA}"/>
          </ac:spMkLst>
        </pc:spChg>
        <pc:spChg chg="mod">
          <ac:chgData name="Hafiz Muhammad Salman" userId="47f5b1ff-37b9-4dd0-a37a-3bc5aec52fa1" providerId="ADAL" clId="{1D0D03E3-3226-4873-A599-0FE1608CAE58}" dt="2024-09-18T15:08:07.529" v="5548" actId="1036"/>
          <ac:spMkLst>
            <pc:docMk/>
            <pc:sldMk cId="4220538765" sldId="3345"/>
            <ac:spMk id="42" creationId="{E7218CCE-EB64-CD4A-A42A-71ABD036948B}"/>
          </ac:spMkLst>
        </pc:spChg>
        <pc:spChg chg="del mod">
          <ac:chgData name="Hafiz Muhammad Salman" userId="47f5b1ff-37b9-4dd0-a37a-3bc5aec52fa1" providerId="ADAL" clId="{1D0D03E3-3226-4873-A599-0FE1608CAE58}" dt="2024-09-12T09:09:52.527" v="3528" actId="478"/>
          <ac:spMkLst>
            <pc:docMk/>
            <pc:sldMk cId="4220538765" sldId="3345"/>
            <ac:spMk id="44" creationId="{121EBA7F-E479-704F-BD38-994A31251133}"/>
          </ac:spMkLst>
        </pc:spChg>
        <pc:spChg chg="del mod">
          <ac:chgData name="Hafiz Muhammad Salman" userId="47f5b1ff-37b9-4dd0-a37a-3bc5aec52fa1" providerId="ADAL" clId="{1D0D03E3-3226-4873-A599-0FE1608CAE58}" dt="2024-09-12T09:09:58.887" v="3529" actId="478"/>
          <ac:spMkLst>
            <pc:docMk/>
            <pc:sldMk cId="4220538765" sldId="3345"/>
            <ac:spMk id="45" creationId="{A44E16F7-A325-C346-BA3F-C0E6FDF9C5A0}"/>
          </ac:spMkLst>
        </pc:spChg>
        <pc:spChg chg="del mod">
          <ac:chgData name="Hafiz Muhammad Salman" userId="47f5b1ff-37b9-4dd0-a37a-3bc5aec52fa1" providerId="ADAL" clId="{1D0D03E3-3226-4873-A599-0FE1608CAE58}" dt="2024-09-12T09:09:58.887" v="3529" actId="478"/>
          <ac:spMkLst>
            <pc:docMk/>
            <pc:sldMk cId="4220538765" sldId="3345"/>
            <ac:spMk id="47" creationId="{4685923A-FCD6-DB4B-B509-89347DD6C89D}"/>
          </ac:spMkLst>
        </pc:spChg>
        <pc:spChg chg="del mod">
          <ac:chgData name="Hafiz Muhammad Salman" userId="47f5b1ff-37b9-4dd0-a37a-3bc5aec52fa1" providerId="ADAL" clId="{1D0D03E3-3226-4873-A599-0FE1608CAE58}" dt="2024-09-12T09:09:58.887" v="3529" actId="478"/>
          <ac:spMkLst>
            <pc:docMk/>
            <pc:sldMk cId="4220538765" sldId="3345"/>
            <ac:spMk id="48" creationId="{73A744CA-653E-2C4C-8246-4F12FAC5D7C7}"/>
          </ac:spMkLst>
        </pc:spChg>
        <pc:spChg chg="del mod">
          <ac:chgData name="Hafiz Muhammad Salman" userId="47f5b1ff-37b9-4dd0-a37a-3bc5aec52fa1" providerId="ADAL" clId="{1D0D03E3-3226-4873-A599-0FE1608CAE58}" dt="2024-09-12T09:09:58.887" v="3529" actId="478"/>
          <ac:spMkLst>
            <pc:docMk/>
            <pc:sldMk cId="4220538765" sldId="3345"/>
            <ac:spMk id="49" creationId="{0259EBD7-1490-2C49-BC6F-45E4F65F8E6B}"/>
          </ac:spMkLst>
        </pc:spChg>
        <pc:picChg chg="add mod">
          <ac:chgData name="Hafiz Muhammad Salman" userId="47f5b1ff-37b9-4dd0-a37a-3bc5aec52fa1" providerId="ADAL" clId="{1D0D03E3-3226-4873-A599-0FE1608CAE58}" dt="2024-09-12T09:59:29.238" v="3953" actId="14100"/>
          <ac:picMkLst>
            <pc:docMk/>
            <pc:sldMk cId="4220538765" sldId="3345"/>
            <ac:picMk id="2" creationId="{91DADFFE-024E-49C6-4861-BE9BCD534795}"/>
          </ac:picMkLst>
        </pc:picChg>
      </pc:sldChg>
      <pc:sldChg chg="modSp del mod">
        <pc:chgData name="Hafiz Muhammad Salman" userId="47f5b1ff-37b9-4dd0-a37a-3bc5aec52fa1" providerId="ADAL" clId="{1D0D03E3-3226-4873-A599-0FE1608CAE58}" dt="2024-09-12T09:11:55.935" v="3530" actId="47"/>
        <pc:sldMkLst>
          <pc:docMk/>
          <pc:sldMk cId="4211722026" sldId="3349"/>
        </pc:sldMkLst>
        <pc:spChg chg="mod">
          <ac:chgData name="Hafiz Muhammad Salman" userId="47f5b1ff-37b9-4dd0-a37a-3bc5aec52fa1" providerId="ADAL" clId="{1D0D03E3-3226-4873-A599-0FE1608CAE58}" dt="2024-09-12T08:32:52.027" v="3237" actId="790"/>
          <ac:spMkLst>
            <pc:docMk/>
            <pc:sldMk cId="4211722026" sldId="3349"/>
            <ac:spMk id="4" creationId="{BBD90B29-54A5-CB42-A766-41FCD2877DF6}"/>
          </ac:spMkLst>
        </pc:spChg>
        <pc:spChg chg="mod">
          <ac:chgData name="Hafiz Muhammad Salman" userId="47f5b1ff-37b9-4dd0-a37a-3bc5aec52fa1" providerId="ADAL" clId="{1D0D03E3-3226-4873-A599-0FE1608CAE58}" dt="2024-09-12T08:32:52.029" v="3238" actId="790"/>
          <ac:spMkLst>
            <pc:docMk/>
            <pc:sldMk cId="4211722026" sldId="3349"/>
            <ac:spMk id="5" creationId="{0DD3EA1A-14C5-364D-B2B3-DDF2F5912A26}"/>
          </ac:spMkLst>
        </pc:spChg>
        <pc:spChg chg="mod">
          <ac:chgData name="Hafiz Muhammad Salman" userId="47f5b1ff-37b9-4dd0-a37a-3bc5aec52fa1" providerId="ADAL" clId="{1D0D03E3-3226-4873-A599-0FE1608CAE58}" dt="2024-09-12T08:32:52.030" v="3239" actId="790"/>
          <ac:spMkLst>
            <pc:docMk/>
            <pc:sldMk cId="4211722026" sldId="3349"/>
            <ac:spMk id="6" creationId="{8129C7D1-33EA-7E46-8D68-A792453E9D7D}"/>
          </ac:spMkLst>
        </pc:spChg>
        <pc:spChg chg="mod">
          <ac:chgData name="Hafiz Muhammad Salman" userId="47f5b1ff-37b9-4dd0-a37a-3bc5aec52fa1" providerId="ADAL" clId="{1D0D03E3-3226-4873-A599-0FE1608CAE58}" dt="2024-09-12T08:32:52.030" v="3240" actId="790"/>
          <ac:spMkLst>
            <pc:docMk/>
            <pc:sldMk cId="4211722026" sldId="3349"/>
            <ac:spMk id="7" creationId="{A79B9665-331B-0340-A6D9-60555337A01C}"/>
          </ac:spMkLst>
        </pc:spChg>
        <pc:spChg chg="mod">
          <ac:chgData name="Hafiz Muhammad Salman" userId="47f5b1ff-37b9-4dd0-a37a-3bc5aec52fa1" providerId="ADAL" clId="{1D0D03E3-3226-4873-A599-0FE1608CAE58}" dt="2024-09-12T08:39:03.412" v="3340" actId="20577"/>
          <ac:spMkLst>
            <pc:docMk/>
            <pc:sldMk cId="4211722026" sldId="3349"/>
            <ac:spMk id="8" creationId="{3480A469-C818-44AC-A66B-7ABC720838F9}"/>
          </ac:spMkLst>
        </pc:spChg>
        <pc:spChg chg="mod">
          <ac:chgData name="Hafiz Muhammad Salman" userId="47f5b1ff-37b9-4dd0-a37a-3bc5aec52fa1" providerId="ADAL" clId="{1D0D03E3-3226-4873-A599-0FE1608CAE58}" dt="2024-09-12T08:32:52.031" v="3241" actId="790"/>
          <ac:spMkLst>
            <pc:docMk/>
            <pc:sldMk cId="4211722026" sldId="3349"/>
            <ac:spMk id="10" creationId="{F2722C85-CBE4-9B42-B2F7-A9A684688CCD}"/>
          </ac:spMkLst>
        </pc:spChg>
        <pc:spChg chg="mod">
          <ac:chgData name="Hafiz Muhammad Salman" userId="47f5b1ff-37b9-4dd0-a37a-3bc5aec52fa1" providerId="ADAL" clId="{1D0D03E3-3226-4873-A599-0FE1608CAE58}" dt="2024-09-12T08:32:52.032" v="3242" actId="790"/>
          <ac:spMkLst>
            <pc:docMk/>
            <pc:sldMk cId="4211722026" sldId="3349"/>
            <ac:spMk id="11" creationId="{B38E0B78-FF0C-874C-AB50-E9464DD236B0}"/>
          </ac:spMkLst>
        </pc:spChg>
        <pc:spChg chg="mod">
          <ac:chgData name="Hafiz Muhammad Salman" userId="47f5b1ff-37b9-4dd0-a37a-3bc5aec52fa1" providerId="ADAL" clId="{1D0D03E3-3226-4873-A599-0FE1608CAE58}" dt="2024-09-12T08:32:52.033" v="3243" actId="790"/>
          <ac:spMkLst>
            <pc:docMk/>
            <pc:sldMk cId="4211722026" sldId="3349"/>
            <ac:spMk id="12" creationId="{157E9C09-8B3C-BF42-85D0-E557547CFD30}"/>
          </ac:spMkLst>
        </pc:spChg>
        <pc:spChg chg="mod">
          <ac:chgData name="Hafiz Muhammad Salman" userId="47f5b1ff-37b9-4dd0-a37a-3bc5aec52fa1" providerId="ADAL" clId="{1D0D03E3-3226-4873-A599-0FE1608CAE58}" dt="2024-09-12T08:32:52.034" v="3244" actId="790"/>
          <ac:spMkLst>
            <pc:docMk/>
            <pc:sldMk cId="4211722026" sldId="3349"/>
            <ac:spMk id="13" creationId="{4EC88B9F-086E-1341-9FB9-4625454A9F91}"/>
          </ac:spMkLst>
        </pc:spChg>
        <pc:spChg chg="mod">
          <ac:chgData name="Hafiz Muhammad Salman" userId="47f5b1ff-37b9-4dd0-a37a-3bc5aec52fa1" providerId="ADAL" clId="{1D0D03E3-3226-4873-A599-0FE1608CAE58}" dt="2024-09-12T08:32:52.035" v="3245" actId="790"/>
          <ac:spMkLst>
            <pc:docMk/>
            <pc:sldMk cId="4211722026" sldId="3349"/>
            <ac:spMk id="15" creationId="{E7F6314B-62F1-BF4C-AF2C-FF189C7EF0E6}"/>
          </ac:spMkLst>
        </pc:spChg>
        <pc:spChg chg="mod">
          <ac:chgData name="Hafiz Muhammad Salman" userId="47f5b1ff-37b9-4dd0-a37a-3bc5aec52fa1" providerId="ADAL" clId="{1D0D03E3-3226-4873-A599-0FE1608CAE58}" dt="2024-09-12T08:32:52.036" v="3246" actId="790"/>
          <ac:spMkLst>
            <pc:docMk/>
            <pc:sldMk cId="4211722026" sldId="3349"/>
            <ac:spMk id="16" creationId="{03BBC132-97E8-5845-820E-96BEB7E71E66}"/>
          </ac:spMkLst>
        </pc:spChg>
        <pc:spChg chg="mod">
          <ac:chgData name="Hafiz Muhammad Salman" userId="47f5b1ff-37b9-4dd0-a37a-3bc5aec52fa1" providerId="ADAL" clId="{1D0D03E3-3226-4873-A599-0FE1608CAE58}" dt="2024-09-12T08:32:52.037" v="3247" actId="790"/>
          <ac:spMkLst>
            <pc:docMk/>
            <pc:sldMk cId="4211722026" sldId="3349"/>
            <ac:spMk id="17" creationId="{F986A2D2-F969-D546-A216-9B6DC8C8D683}"/>
          </ac:spMkLst>
        </pc:spChg>
        <pc:spChg chg="mod">
          <ac:chgData name="Hafiz Muhammad Salman" userId="47f5b1ff-37b9-4dd0-a37a-3bc5aec52fa1" providerId="ADAL" clId="{1D0D03E3-3226-4873-A599-0FE1608CAE58}" dt="2024-09-12T08:32:52.038" v="3248" actId="790"/>
          <ac:spMkLst>
            <pc:docMk/>
            <pc:sldMk cId="4211722026" sldId="3349"/>
            <ac:spMk id="18" creationId="{A7E7F6D3-5F72-D64E-94C1-FA5B5C88EA0A}"/>
          </ac:spMkLst>
        </pc:spChg>
        <pc:spChg chg="mod">
          <ac:chgData name="Hafiz Muhammad Salman" userId="47f5b1ff-37b9-4dd0-a37a-3bc5aec52fa1" providerId="ADAL" clId="{1D0D03E3-3226-4873-A599-0FE1608CAE58}" dt="2024-09-12T08:32:52.039" v="3249" actId="790"/>
          <ac:spMkLst>
            <pc:docMk/>
            <pc:sldMk cId="4211722026" sldId="3349"/>
            <ac:spMk id="20" creationId="{B633976C-FC90-BC42-AC10-309422EE591C}"/>
          </ac:spMkLst>
        </pc:spChg>
        <pc:spChg chg="mod">
          <ac:chgData name="Hafiz Muhammad Salman" userId="47f5b1ff-37b9-4dd0-a37a-3bc5aec52fa1" providerId="ADAL" clId="{1D0D03E3-3226-4873-A599-0FE1608CAE58}" dt="2024-09-12T08:32:52.040" v="3250" actId="790"/>
          <ac:spMkLst>
            <pc:docMk/>
            <pc:sldMk cId="4211722026" sldId="3349"/>
            <ac:spMk id="21" creationId="{C5E785B4-82FB-9B4A-BE17-BE204561ADD3}"/>
          </ac:spMkLst>
        </pc:spChg>
        <pc:spChg chg="mod">
          <ac:chgData name="Hafiz Muhammad Salman" userId="47f5b1ff-37b9-4dd0-a37a-3bc5aec52fa1" providerId="ADAL" clId="{1D0D03E3-3226-4873-A599-0FE1608CAE58}" dt="2024-09-12T08:32:52.041" v="3251" actId="790"/>
          <ac:spMkLst>
            <pc:docMk/>
            <pc:sldMk cId="4211722026" sldId="3349"/>
            <ac:spMk id="22" creationId="{340B9683-1E43-BC4F-8B34-B0D24C94081D}"/>
          </ac:spMkLst>
        </pc:spChg>
        <pc:spChg chg="mod">
          <ac:chgData name="Hafiz Muhammad Salman" userId="47f5b1ff-37b9-4dd0-a37a-3bc5aec52fa1" providerId="ADAL" clId="{1D0D03E3-3226-4873-A599-0FE1608CAE58}" dt="2024-09-12T08:32:52.042" v="3252" actId="790"/>
          <ac:spMkLst>
            <pc:docMk/>
            <pc:sldMk cId="4211722026" sldId="3349"/>
            <ac:spMk id="23" creationId="{52851A4C-8B78-0345-A1D0-880569846D6A}"/>
          </ac:spMkLst>
        </pc:spChg>
        <pc:spChg chg="mod">
          <ac:chgData name="Hafiz Muhammad Salman" userId="47f5b1ff-37b9-4dd0-a37a-3bc5aec52fa1" providerId="ADAL" clId="{1D0D03E3-3226-4873-A599-0FE1608CAE58}" dt="2024-09-12T08:32:52.043" v="3253" actId="790"/>
          <ac:spMkLst>
            <pc:docMk/>
            <pc:sldMk cId="4211722026" sldId="3349"/>
            <ac:spMk id="25" creationId="{27F2FD11-2282-EE4A-B3A6-F428E284A7CD}"/>
          </ac:spMkLst>
        </pc:spChg>
        <pc:spChg chg="mod">
          <ac:chgData name="Hafiz Muhammad Salman" userId="47f5b1ff-37b9-4dd0-a37a-3bc5aec52fa1" providerId="ADAL" clId="{1D0D03E3-3226-4873-A599-0FE1608CAE58}" dt="2024-09-12T08:32:52.043" v="3254" actId="790"/>
          <ac:spMkLst>
            <pc:docMk/>
            <pc:sldMk cId="4211722026" sldId="3349"/>
            <ac:spMk id="26" creationId="{A0BDD69E-EF71-8244-8255-3BA99F1C9F23}"/>
          </ac:spMkLst>
        </pc:spChg>
        <pc:spChg chg="mod">
          <ac:chgData name="Hafiz Muhammad Salman" userId="47f5b1ff-37b9-4dd0-a37a-3bc5aec52fa1" providerId="ADAL" clId="{1D0D03E3-3226-4873-A599-0FE1608CAE58}" dt="2024-09-12T08:32:52.045" v="3255" actId="790"/>
          <ac:spMkLst>
            <pc:docMk/>
            <pc:sldMk cId="4211722026" sldId="3349"/>
            <ac:spMk id="27" creationId="{0CDADB8D-3463-D740-A038-2A44791E83EA}"/>
          </ac:spMkLst>
        </pc:spChg>
        <pc:spChg chg="mod">
          <ac:chgData name="Hafiz Muhammad Salman" userId="47f5b1ff-37b9-4dd0-a37a-3bc5aec52fa1" providerId="ADAL" clId="{1D0D03E3-3226-4873-A599-0FE1608CAE58}" dt="2024-09-12T08:32:52.046" v="3256" actId="790"/>
          <ac:spMkLst>
            <pc:docMk/>
            <pc:sldMk cId="4211722026" sldId="3349"/>
            <ac:spMk id="28" creationId="{9F12F097-5CD0-2141-ADD5-8953766C1129}"/>
          </ac:spMkLst>
        </pc:spChg>
        <pc:spChg chg="mod">
          <ac:chgData name="Hafiz Muhammad Salman" userId="47f5b1ff-37b9-4dd0-a37a-3bc5aec52fa1" providerId="ADAL" clId="{1D0D03E3-3226-4873-A599-0FE1608CAE58}" dt="2024-09-12T08:32:52.047" v="3257" actId="790"/>
          <ac:spMkLst>
            <pc:docMk/>
            <pc:sldMk cId="4211722026" sldId="3349"/>
            <ac:spMk id="30" creationId="{B856BEFD-154F-DD40-B9CF-9269B8A896C8}"/>
          </ac:spMkLst>
        </pc:spChg>
        <pc:spChg chg="mod">
          <ac:chgData name="Hafiz Muhammad Salman" userId="47f5b1ff-37b9-4dd0-a37a-3bc5aec52fa1" providerId="ADAL" clId="{1D0D03E3-3226-4873-A599-0FE1608CAE58}" dt="2024-09-12T08:32:52.048" v="3258" actId="790"/>
          <ac:spMkLst>
            <pc:docMk/>
            <pc:sldMk cId="4211722026" sldId="3349"/>
            <ac:spMk id="31" creationId="{3F423B68-B0F5-7D47-B4C1-8337619BCFCD}"/>
          </ac:spMkLst>
        </pc:spChg>
        <pc:spChg chg="mod">
          <ac:chgData name="Hafiz Muhammad Salman" userId="47f5b1ff-37b9-4dd0-a37a-3bc5aec52fa1" providerId="ADAL" clId="{1D0D03E3-3226-4873-A599-0FE1608CAE58}" dt="2024-09-12T08:32:52.049" v="3259" actId="790"/>
          <ac:spMkLst>
            <pc:docMk/>
            <pc:sldMk cId="4211722026" sldId="3349"/>
            <ac:spMk id="32" creationId="{F1844E89-6D07-7147-A733-F2A681929374}"/>
          </ac:spMkLst>
        </pc:spChg>
        <pc:spChg chg="mod">
          <ac:chgData name="Hafiz Muhammad Salman" userId="47f5b1ff-37b9-4dd0-a37a-3bc5aec52fa1" providerId="ADAL" clId="{1D0D03E3-3226-4873-A599-0FE1608CAE58}" dt="2024-09-12T08:32:52.050" v="3260" actId="790"/>
          <ac:spMkLst>
            <pc:docMk/>
            <pc:sldMk cId="4211722026" sldId="3349"/>
            <ac:spMk id="33" creationId="{B3B735F3-E9C8-074F-B162-96F2B8C483FE}"/>
          </ac:spMkLst>
        </pc:spChg>
        <pc:spChg chg="mod">
          <ac:chgData name="Hafiz Muhammad Salman" userId="47f5b1ff-37b9-4dd0-a37a-3bc5aec52fa1" providerId="ADAL" clId="{1D0D03E3-3226-4873-A599-0FE1608CAE58}" dt="2024-09-12T08:32:52.051" v="3261" actId="790"/>
          <ac:spMkLst>
            <pc:docMk/>
            <pc:sldMk cId="4211722026" sldId="3349"/>
            <ac:spMk id="35" creationId="{F17A90D8-2B90-3B47-8112-FFEF63C18B03}"/>
          </ac:spMkLst>
        </pc:spChg>
        <pc:spChg chg="mod">
          <ac:chgData name="Hafiz Muhammad Salman" userId="47f5b1ff-37b9-4dd0-a37a-3bc5aec52fa1" providerId="ADAL" clId="{1D0D03E3-3226-4873-A599-0FE1608CAE58}" dt="2024-09-12T08:32:52.051" v="3262" actId="790"/>
          <ac:spMkLst>
            <pc:docMk/>
            <pc:sldMk cId="4211722026" sldId="3349"/>
            <ac:spMk id="36" creationId="{686846D9-4CAE-F24F-9900-65D8F7D23AB3}"/>
          </ac:spMkLst>
        </pc:spChg>
        <pc:spChg chg="mod">
          <ac:chgData name="Hafiz Muhammad Salman" userId="47f5b1ff-37b9-4dd0-a37a-3bc5aec52fa1" providerId="ADAL" clId="{1D0D03E3-3226-4873-A599-0FE1608CAE58}" dt="2024-09-12T08:32:52.053" v="3263" actId="790"/>
          <ac:spMkLst>
            <pc:docMk/>
            <pc:sldMk cId="4211722026" sldId="3349"/>
            <ac:spMk id="37" creationId="{46D72137-C388-5E4D-B8DF-D7F67CAEE22D}"/>
          </ac:spMkLst>
        </pc:spChg>
        <pc:spChg chg="mod">
          <ac:chgData name="Hafiz Muhammad Salman" userId="47f5b1ff-37b9-4dd0-a37a-3bc5aec52fa1" providerId="ADAL" clId="{1D0D03E3-3226-4873-A599-0FE1608CAE58}" dt="2024-09-12T08:32:52.053" v="3264" actId="790"/>
          <ac:spMkLst>
            <pc:docMk/>
            <pc:sldMk cId="4211722026" sldId="3349"/>
            <ac:spMk id="38" creationId="{D0C5C731-1512-1149-A115-51BCE37F9F33}"/>
          </ac:spMkLst>
        </pc:spChg>
        <pc:spChg chg="mod">
          <ac:chgData name="Hafiz Muhammad Salman" userId="47f5b1ff-37b9-4dd0-a37a-3bc5aec52fa1" providerId="ADAL" clId="{1D0D03E3-3226-4873-A599-0FE1608CAE58}" dt="2024-09-12T08:32:52.054" v="3265" actId="790"/>
          <ac:spMkLst>
            <pc:docMk/>
            <pc:sldMk cId="4211722026" sldId="3349"/>
            <ac:spMk id="40" creationId="{50A4879D-E5E8-C148-BAC8-58BFF88EB13B}"/>
          </ac:spMkLst>
        </pc:spChg>
        <pc:spChg chg="mod">
          <ac:chgData name="Hafiz Muhammad Salman" userId="47f5b1ff-37b9-4dd0-a37a-3bc5aec52fa1" providerId="ADAL" clId="{1D0D03E3-3226-4873-A599-0FE1608CAE58}" dt="2024-09-12T08:32:52.055" v="3266" actId="790"/>
          <ac:spMkLst>
            <pc:docMk/>
            <pc:sldMk cId="4211722026" sldId="3349"/>
            <ac:spMk id="41" creationId="{3AD6D75F-2E5C-5940-A9E4-B3CFCB99647E}"/>
          </ac:spMkLst>
        </pc:spChg>
        <pc:spChg chg="mod">
          <ac:chgData name="Hafiz Muhammad Salman" userId="47f5b1ff-37b9-4dd0-a37a-3bc5aec52fa1" providerId="ADAL" clId="{1D0D03E3-3226-4873-A599-0FE1608CAE58}" dt="2024-09-12T08:32:52.056" v="3267" actId="790"/>
          <ac:spMkLst>
            <pc:docMk/>
            <pc:sldMk cId="4211722026" sldId="3349"/>
            <ac:spMk id="42" creationId="{C52B6BA0-5962-7A41-A54D-81BF08DE4F51}"/>
          </ac:spMkLst>
        </pc:spChg>
        <pc:spChg chg="mod">
          <ac:chgData name="Hafiz Muhammad Salman" userId="47f5b1ff-37b9-4dd0-a37a-3bc5aec52fa1" providerId="ADAL" clId="{1D0D03E3-3226-4873-A599-0FE1608CAE58}" dt="2024-09-12T08:32:52.057" v="3268" actId="790"/>
          <ac:spMkLst>
            <pc:docMk/>
            <pc:sldMk cId="4211722026" sldId="3349"/>
            <ac:spMk id="43" creationId="{902AF292-8868-3548-80C7-0BAE9B4D6041}"/>
          </ac:spMkLst>
        </pc:spChg>
      </pc:sldChg>
      <pc:sldChg chg="modSp del mod">
        <pc:chgData name="Hafiz Muhammad Salman" userId="47f5b1ff-37b9-4dd0-a37a-3bc5aec52fa1" providerId="ADAL" clId="{1D0D03E3-3226-4873-A599-0FE1608CAE58}" dt="2024-09-11T12:54:00.511" v="2236" actId="47"/>
        <pc:sldMkLst>
          <pc:docMk/>
          <pc:sldMk cId="3010930615" sldId="3354"/>
        </pc:sldMkLst>
        <pc:spChg chg="mod">
          <ac:chgData name="Hafiz Muhammad Salman" userId="47f5b1ff-37b9-4dd0-a37a-3bc5aec52fa1" providerId="ADAL" clId="{1D0D03E3-3226-4873-A599-0FE1608CAE58}" dt="2024-09-10T15:35:59.741" v="296"/>
          <ac:spMkLst>
            <pc:docMk/>
            <pc:sldMk cId="3010930615" sldId="3354"/>
            <ac:spMk id="5" creationId="{05E6BD02-ADAF-634B-8F36-58770B3B1D53}"/>
          </ac:spMkLst>
        </pc:spChg>
        <pc:spChg chg="mod">
          <ac:chgData name="Hafiz Muhammad Salman" userId="47f5b1ff-37b9-4dd0-a37a-3bc5aec52fa1" providerId="ADAL" clId="{1D0D03E3-3226-4873-A599-0FE1608CAE58}" dt="2024-09-10T15:26:15.427" v="148" actId="790"/>
          <ac:spMkLst>
            <pc:docMk/>
            <pc:sldMk cId="3010930615" sldId="3354"/>
            <ac:spMk id="6" creationId="{D75AB539-68A9-3C4B-B57C-4B023BAA9F3A}"/>
          </ac:spMkLst>
        </pc:spChg>
        <pc:spChg chg="mod">
          <ac:chgData name="Hafiz Muhammad Salman" userId="47f5b1ff-37b9-4dd0-a37a-3bc5aec52fa1" providerId="ADAL" clId="{1D0D03E3-3226-4873-A599-0FE1608CAE58}" dt="2024-09-10T15:26:15.427" v="149" actId="790"/>
          <ac:spMkLst>
            <pc:docMk/>
            <pc:sldMk cId="3010930615" sldId="3354"/>
            <ac:spMk id="10" creationId="{BFCE72D1-9595-B548-9B7A-3AB6307C5326}"/>
          </ac:spMkLst>
        </pc:spChg>
        <pc:spChg chg="mod">
          <ac:chgData name="Hafiz Muhammad Salman" userId="47f5b1ff-37b9-4dd0-a37a-3bc5aec52fa1" providerId="ADAL" clId="{1D0D03E3-3226-4873-A599-0FE1608CAE58}" dt="2024-09-10T15:26:15.427" v="150" actId="790"/>
          <ac:spMkLst>
            <pc:docMk/>
            <pc:sldMk cId="3010930615" sldId="3354"/>
            <ac:spMk id="11" creationId="{6A05D8C9-5455-EA48-8E04-21E0F5A2CAF0}"/>
          </ac:spMkLst>
        </pc:spChg>
        <pc:spChg chg="mod">
          <ac:chgData name="Hafiz Muhammad Salman" userId="47f5b1ff-37b9-4dd0-a37a-3bc5aec52fa1" providerId="ADAL" clId="{1D0D03E3-3226-4873-A599-0FE1608CAE58}" dt="2024-09-10T15:26:15.427" v="151" actId="790"/>
          <ac:spMkLst>
            <pc:docMk/>
            <pc:sldMk cId="3010930615" sldId="3354"/>
            <ac:spMk id="12" creationId="{4EA92EBE-3574-CF4B-A0BC-50832EA98EB8}"/>
          </ac:spMkLst>
        </pc:spChg>
        <pc:spChg chg="mod">
          <ac:chgData name="Hafiz Muhammad Salman" userId="47f5b1ff-37b9-4dd0-a37a-3bc5aec52fa1" providerId="ADAL" clId="{1D0D03E3-3226-4873-A599-0FE1608CAE58}" dt="2024-09-10T15:26:15.427" v="152" actId="790"/>
          <ac:spMkLst>
            <pc:docMk/>
            <pc:sldMk cId="3010930615" sldId="3354"/>
            <ac:spMk id="15" creationId="{683459D4-4AF6-6F47-8BB4-1CA1BBA68B26}"/>
          </ac:spMkLst>
        </pc:spChg>
        <pc:spChg chg="mod">
          <ac:chgData name="Hafiz Muhammad Salman" userId="47f5b1ff-37b9-4dd0-a37a-3bc5aec52fa1" providerId="ADAL" clId="{1D0D03E3-3226-4873-A599-0FE1608CAE58}" dt="2024-09-10T15:26:15.427" v="153" actId="790"/>
          <ac:spMkLst>
            <pc:docMk/>
            <pc:sldMk cId="3010930615" sldId="3354"/>
            <ac:spMk id="16" creationId="{57A9006D-9130-1E4E-9BCB-9B466D13EEEE}"/>
          </ac:spMkLst>
        </pc:spChg>
        <pc:spChg chg="mod">
          <ac:chgData name="Hafiz Muhammad Salman" userId="47f5b1ff-37b9-4dd0-a37a-3bc5aec52fa1" providerId="ADAL" clId="{1D0D03E3-3226-4873-A599-0FE1608CAE58}" dt="2024-09-10T15:26:15.427" v="154" actId="790"/>
          <ac:spMkLst>
            <pc:docMk/>
            <pc:sldMk cId="3010930615" sldId="3354"/>
            <ac:spMk id="18" creationId="{B91323FD-D35D-8B4C-A558-83041901AC81}"/>
          </ac:spMkLst>
        </pc:spChg>
        <pc:spChg chg="mod">
          <ac:chgData name="Hafiz Muhammad Salman" userId="47f5b1ff-37b9-4dd0-a37a-3bc5aec52fa1" providerId="ADAL" clId="{1D0D03E3-3226-4873-A599-0FE1608CAE58}" dt="2024-09-10T15:26:15.427" v="155" actId="790"/>
          <ac:spMkLst>
            <pc:docMk/>
            <pc:sldMk cId="3010930615" sldId="3354"/>
            <ac:spMk id="19" creationId="{5DCFD89A-6769-9844-BEB1-765488F6BD29}"/>
          </ac:spMkLst>
        </pc:spChg>
        <pc:spChg chg="mod">
          <ac:chgData name="Hafiz Muhammad Salman" userId="47f5b1ff-37b9-4dd0-a37a-3bc5aec52fa1" providerId="ADAL" clId="{1D0D03E3-3226-4873-A599-0FE1608CAE58}" dt="2024-09-10T15:26:15.427" v="156" actId="790"/>
          <ac:spMkLst>
            <pc:docMk/>
            <pc:sldMk cId="3010930615" sldId="3354"/>
            <ac:spMk id="21" creationId="{51B73627-1A60-2045-A632-2803AA27F966}"/>
          </ac:spMkLst>
        </pc:spChg>
        <pc:spChg chg="mod">
          <ac:chgData name="Hafiz Muhammad Salman" userId="47f5b1ff-37b9-4dd0-a37a-3bc5aec52fa1" providerId="ADAL" clId="{1D0D03E3-3226-4873-A599-0FE1608CAE58}" dt="2024-09-10T15:26:15.427" v="157" actId="790"/>
          <ac:spMkLst>
            <pc:docMk/>
            <pc:sldMk cId="3010930615" sldId="3354"/>
            <ac:spMk id="22" creationId="{5F49052D-848B-994C-896A-1E934C97EB86}"/>
          </ac:spMkLst>
        </pc:spChg>
        <pc:spChg chg="mod">
          <ac:chgData name="Hafiz Muhammad Salman" userId="47f5b1ff-37b9-4dd0-a37a-3bc5aec52fa1" providerId="ADAL" clId="{1D0D03E3-3226-4873-A599-0FE1608CAE58}" dt="2024-09-10T15:26:15.427" v="158" actId="790"/>
          <ac:spMkLst>
            <pc:docMk/>
            <pc:sldMk cId="3010930615" sldId="3354"/>
            <ac:spMk id="24" creationId="{190AF846-2830-6844-9427-F751719FEB92}"/>
          </ac:spMkLst>
        </pc:spChg>
        <pc:spChg chg="mod">
          <ac:chgData name="Hafiz Muhammad Salman" userId="47f5b1ff-37b9-4dd0-a37a-3bc5aec52fa1" providerId="ADAL" clId="{1D0D03E3-3226-4873-A599-0FE1608CAE58}" dt="2024-09-10T15:26:15.427" v="159" actId="790"/>
          <ac:spMkLst>
            <pc:docMk/>
            <pc:sldMk cId="3010930615" sldId="3354"/>
            <ac:spMk id="25" creationId="{DDD24781-0F52-4B44-BE07-602F7E243425}"/>
          </ac:spMkLst>
        </pc:spChg>
        <pc:spChg chg="mod">
          <ac:chgData name="Hafiz Muhammad Salman" userId="47f5b1ff-37b9-4dd0-a37a-3bc5aec52fa1" providerId="ADAL" clId="{1D0D03E3-3226-4873-A599-0FE1608CAE58}" dt="2024-09-10T15:26:15.427" v="160" actId="790"/>
          <ac:spMkLst>
            <pc:docMk/>
            <pc:sldMk cId="3010930615" sldId="3354"/>
            <ac:spMk id="26" creationId="{8B171435-CE3B-DA48-ABAF-76E18E9E7D13}"/>
          </ac:spMkLst>
        </pc:spChg>
        <pc:spChg chg="mod">
          <ac:chgData name="Hafiz Muhammad Salman" userId="47f5b1ff-37b9-4dd0-a37a-3bc5aec52fa1" providerId="ADAL" clId="{1D0D03E3-3226-4873-A599-0FE1608CAE58}" dt="2024-09-10T15:26:15.443" v="161" actId="790"/>
          <ac:spMkLst>
            <pc:docMk/>
            <pc:sldMk cId="3010930615" sldId="3354"/>
            <ac:spMk id="27" creationId="{D2EDFA74-273E-6741-9B19-FEDEFBFA1B5C}"/>
          </ac:spMkLst>
        </pc:spChg>
        <pc:spChg chg="mod">
          <ac:chgData name="Hafiz Muhammad Salman" userId="47f5b1ff-37b9-4dd0-a37a-3bc5aec52fa1" providerId="ADAL" clId="{1D0D03E3-3226-4873-A599-0FE1608CAE58}" dt="2024-09-10T15:26:15.443" v="162" actId="790"/>
          <ac:spMkLst>
            <pc:docMk/>
            <pc:sldMk cId="3010930615" sldId="3354"/>
            <ac:spMk id="28" creationId="{1792AAC7-9301-134C-88BB-2FEEB9D9B9C1}"/>
          </ac:spMkLst>
        </pc:spChg>
        <pc:spChg chg="mod">
          <ac:chgData name="Hafiz Muhammad Salman" userId="47f5b1ff-37b9-4dd0-a37a-3bc5aec52fa1" providerId="ADAL" clId="{1D0D03E3-3226-4873-A599-0FE1608CAE58}" dt="2024-09-10T15:26:15.443" v="163" actId="790"/>
          <ac:spMkLst>
            <pc:docMk/>
            <pc:sldMk cId="3010930615" sldId="3354"/>
            <ac:spMk id="29" creationId="{B7ACDA49-4331-6540-A832-1EA4CFC38BA8}"/>
          </ac:spMkLst>
        </pc:spChg>
      </pc:sldChg>
      <pc:sldChg chg="modSp del mod">
        <pc:chgData name="Hafiz Muhammad Salman" userId="47f5b1ff-37b9-4dd0-a37a-3bc5aec52fa1" providerId="ADAL" clId="{1D0D03E3-3226-4873-A599-0FE1608CAE58}" dt="2024-09-11T12:53:57.385" v="2235" actId="47"/>
        <pc:sldMkLst>
          <pc:docMk/>
          <pc:sldMk cId="189442459" sldId="3356"/>
        </pc:sldMkLst>
        <pc:spChg chg="mod">
          <ac:chgData name="Hafiz Muhammad Salman" userId="47f5b1ff-37b9-4dd0-a37a-3bc5aec52fa1" providerId="ADAL" clId="{1D0D03E3-3226-4873-A599-0FE1608CAE58}" dt="2024-09-10T14:59:09.455" v="125" actId="790"/>
          <ac:spMkLst>
            <pc:docMk/>
            <pc:sldMk cId="189442459" sldId="3356"/>
            <ac:spMk id="7" creationId="{865CAA68-8FA2-314A-ADB8-4461C2E16553}"/>
          </ac:spMkLst>
        </pc:spChg>
        <pc:spChg chg="mod">
          <ac:chgData name="Hafiz Muhammad Salman" userId="47f5b1ff-37b9-4dd0-a37a-3bc5aec52fa1" providerId="ADAL" clId="{1D0D03E3-3226-4873-A599-0FE1608CAE58}" dt="2024-09-10T14:59:09.457" v="127" actId="790"/>
          <ac:spMkLst>
            <pc:docMk/>
            <pc:sldMk cId="189442459" sldId="3356"/>
            <ac:spMk id="8" creationId="{80C8DA0E-7173-A64E-A597-3A293BE2EF59}"/>
          </ac:spMkLst>
        </pc:spChg>
        <pc:spChg chg="mod">
          <ac:chgData name="Hafiz Muhammad Salman" userId="47f5b1ff-37b9-4dd0-a37a-3bc5aec52fa1" providerId="ADAL" clId="{1D0D03E3-3226-4873-A599-0FE1608CAE58}" dt="2024-09-10T14:59:09.457" v="128" actId="790"/>
          <ac:spMkLst>
            <pc:docMk/>
            <pc:sldMk cId="189442459" sldId="3356"/>
            <ac:spMk id="9" creationId="{B1E7D87B-19EC-DF4E-9944-5294A17D47B9}"/>
          </ac:spMkLst>
        </pc:spChg>
        <pc:spChg chg="mod">
          <ac:chgData name="Hafiz Muhammad Salman" userId="47f5b1ff-37b9-4dd0-a37a-3bc5aec52fa1" providerId="ADAL" clId="{1D0D03E3-3226-4873-A599-0FE1608CAE58}" dt="2024-09-10T14:59:09.455" v="126" actId="790"/>
          <ac:spMkLst>
            <pc:docMk/>
            <pc:sldMk cId="189442459" sldId="3356"/>
            <ac:spMk id="23" creationId="{D1A9F8D3-732C-DD41-8BA0-2C3C2E90ECF3}"/>
          </ac:spMkLst>
        </pc:spChg>
        <pc:spChg chg="mod">
          <ac:chgData name="Hafiz Muhammad Salman" userId="47f5b1ff-37b9-4dd0-a37a-3bc5aec52fa1" providerId="ADAL" clId="{1D0D03E3-3226-4873-A599-0FE1608CAE58}" dt="2024-09-10T14:59:09.457" v="129" actId="790"/>
          <ac:spMkLst>
            <pc:docMk/>
            <pc:sldMk cId="189442459" sldId="3356"/>
            <ac:spMk id="24" creationId="{1FC1CD19-B242-4241-9E8D-E52D4F20B202}"/>
          </ac:spMkLst>
        </pc:spChg>
        <pc:spChg chg="mod">
          <ac:chgData name="Hafiz Muhammad Salman" userId="47f5b1ff-37b9-4dd0-a37a-3bc5aec52fa1" providerId="ADAL" clId="{1D0D03E3-3226-4873-A599-0FE1608CAE58}" dt="2024-09-10T14:59:09.457" v="130" actId="790"/>
          <ac:spMkLst>
            <pc:docMk/>
            <pc:sldMk cId="189442459" sldId="3356"/>
            <ac:spMk id="25" creationId="{5619466F-ACB2-8D49-B05A-4B51B5024F7C}"/>
          </ac:spMkLst>
        </pc:spChg>
        <pc:spChg chg="mod">
          <ac:chgData name="Hafiz Muhammad Salman" userId="47f5b1ff-37b9-4dd0-a37a-3bc5aec52fa1" providerId="ADAL" clId="{1D0D03E3-3226-4873-A599-0FE1608CAE58}" dt="2024-09-10T14:59:09.457" v="133" actId="790"/>
          <ac:spMkLst>
            <pc:docMk/>
            <pc:sldMk cId="189442459" sldId="3356"/>
            <ac:spMk id="31" creationId="{3DD06593-BEE5-1C4A-8717-41A96FDA4158}"/>
          </ac:spMkLst>
        </pc:spChg>
        <pc:spChg chg="mod">
          <ac:chgData name="Hafiz Muhammad Salman" userId="47f5b1ff-37b9-4dd0-a37a-3bc5aec52fa1" providerId="ADAL" clId="{1D0D03E3-3226-4873-A599-0FE1608CAE58}" dt="2024-09-10T14:59:09.465" v="134" actId="790"/>
          <ac:spMkLst>
            <pc:docMk/>
            <pc:sldMk cId="189442459" sldId="3356"/>
            <ac:spMk id="32" creationId="{AD2C15D2-5286-2B4F-9F7D-1FFCAAD39622}"/>
          </ac:spMkLst>
        </pc:spChg>
        <pc:spChg chg="mod">
          <ac:chgData name="Hafiz Muhammad Salman" userId="47f5b1ff-37b9-4dd0-a37a-3bc5aec52fa1" providerId="ADAL" clId="{1D0D03E3-3226-4873-A599-0FE1608CAE58}" dt="2024-09-10T14:59:09.457" v="131" actId="790"/>
          <ac:spMkLst>
            <pc:docMk/>
            <pc:sldMk cId="189442459" sldId="3356"/>
            <ac:spMk id="33" creationId="{2E385F0F-DE21-D94C-A12B-C9F2B781849B}"/>
          </ac:spMkLst>
        </pc:spChg>
        <pc:spChg chg="mod">
          <ac:chgData name="Hafiz Muhammad Salman" userId="47f5b1ff-37b9-4dd0-a37a-3bc5aec52fa1" providerId="ADAL" clId="{1D0D03E3-3226-4873-A599-0FE1608CAE58}" dt="2024-09-10T14:59:09.457" v="132" actId="790"/>
          <ac:spMkLst>
            <pc:docMk/>
            <pc:sldMk cId="189442459" sldId="3356"/>
            <ac:spMk id="34" creationId="{8236229B-3403-DC43-9686-672FEB759155}"/>
          </ac:spMkLst>
        </pc:spChg>
        <pc:spChg chg="mod">
          <ac:chgData name="Hafiz Muhammad Salman" userId="47f5b1ff-37b9-4dd0-a37a-3bc5aec52fa1" providerId="ADAL" clId="{1D0D03E3-3226-4873-A599-0FE1608CAE58}" dt="2024-09-10T14:59:09.467" v="137" actId="790"/>
          <ac:spMkLst>
            <pc:docMk/>
            <pc:sldMk cId="189442459" sldId="3356"/>
            <ac:spMk id="38" creationId="{D81B8393-7BC2-1140-8D4D-2250550A3F2A}"/>
          </ac:spMkLst>
        </pc:spChg>
        <pc:spChg chg="mod">
          <ac:chgData name="Hafiz Muhammad Salman" userId="47f5b1ff-37b9-4dd0-a37a-3bc5aec52fa1" providerId="ADAL" clId="{1D0D03E3-3226-4873-A599-0FE1608CAE58}" dt="2024-09-10T14:59:09.467" v="138" actId="790"/>
          <ac:spMkLst>
            <pc:docMk/>
            <pc:sldMk cId="189442459" sldId="3356"/>
            <ac:spMk id="39" creationId="{0B43C6AF-7D12-FF42-81D1-CD4583B2A58E}"/>
          </ac:spMkLst>
        </pc:spChg>
        <pc:spChg chg="mod">
          <ac:chgData name="Hafiz Muhammad Salman" userId="47f5b1ff-37b9-4dd0-a37a-3bc5aec52fa1" providerId="ADAL" clId="{1D0D03E3-3226-4873-A599-0FE1608CAE58}" dt="2024-09-10T14:59:09.467" v="135" actId="790"/>
          <ac:spMkLst>
            <pc:docMk/>
            <pc:sldMk cId="189442459" sldId="3356"/>
            <ac:spMk id="40" creationId="{B4135E0E-BF6D-8341-A00B-AB8BA67EE61F}"/>
          </ac:spMkLst>
        </pc:spChg>
        <pc:spChg chg="mod">
          <ac:chgData name="Hafiz Muhammad Salman" userId="47f5b1ff-37b9-4dd0-a37a-3bc5aec52fa1" providerId="ADAL" clId="{1D0D03E3-3226-4873-A599-0FE1608CAE58}" dt="2024-09-10T14:59:09.467" v="136" actId="790"/>
          <ac:spMkLst>
            <pc:docMk/>
            <pc:sldMk cId="189442459" sldId="3356"/>
            <ac:spMk id="41" creationId="{04E778C1-8C28-FA43-BA87-8674335D5A31}"/>
          </ac:spMkLst>
        </pc:spChg>
        <pc:spChg chg="mod">
          <ac:chgData name="Hafiz Muhammad Salman" userId="47f5b1ff-37b9-4dd0-a37a-3bc5aec52fa1" providerId="ADAL" clId="{1D0D03E3-3226-4873-A599-0FE1608CAE58}" dt="2024-09-10T14:59:09.467" v="141" actId="790"/>
          <ac:spMkLst>
            <pc:docMk/>
            <pc:sldMk cId="189442459" sldId="3356"/>
            <ac:spMk id="45" creationId="{042293BD-E57D-334A-9CA0-D8B758CB8403}"/>
          </ac:spMkLst>
        </pc:spChg>
        <pc:spChg chg="mod">
          <ac:chgData name="Hafiz Muhammad Salman" userId="47f5b1ff-37b9-4dd0-a37a-3bc5aec52fa1" providerId="ADAL" clId="{1D0D03E3-3226-4873-A599-0FE1608CAE58}" dt="2024-09-10T14:59:09.467" v="142" actId="790"/>
          <ac:spMkLst>
            <pc:docMk/>
            <pc:sldMk cId="189442459" sldId="3356"/>
            <ac:spMk id="46" creationId="{F7E3177D-A949-6E4A-8254-F8506A387C71}"/>
          </ac:spMkLst>
        </pc:spChg>
        <pc:spChg chg="mod">
          <ac:chgData name="Hafiz Muhammad Salman" userId="47f5b1ff-37b9-4dd0-a37a-3bc5aec52fa1" providerId="ADAL" clId="{1D0D03E3-3226-4873-A599-0FE1608CAE58}" dt="2024-09-10T14:59:09.467" v="139" actId="790"/>
          <ac:spMkLst>
            <pc:docMk/>
            <pc:sldMk cId="189442459" sldId="3356"/>
            <ac:spMk id="47" creationId="{84BD51C5-0080-E74A-B81A-D196608ED14B}"/>
          </ac:spMkLst>
        </pc:spChg>
        <pc:spChg chg="mod">
          <ac:chgData name="Hafiz Muhammad Salman" userId="47f5b1ff-37b9-4dd0-a37a-3bc5aec52fa1" providerId="ADAL" clId="{1D0D03E3-3226-4873-A599-0FE1608CAE58}" dt="2024-09-10T14:59:09.467" v="140" actId="790"/>
          <ac:spMkLst>
            <pc:docMk/>
            <pc:sldMk cId="189442459" sldId="3356"/>
            <ac:spMk id="48" creationId="{719BF284-0C92-5946-939D-B2E1E86C21BB}"/>
          </ac:spMkLst>
        </pc:spChg>
        <pc:spChg chg="mod">
          <ac:chgData name="Hafiz Muhammad Salman" userId="47f5b1ff-37b9-4dd0-a37a-3bc5aec52fa1" providerId="ADAL" clId="{1D0D03E3-3226-4873-A599-0FE1608CAE58}" dt="2024-09-10T14:59:09.478" v="145" actId="790"/>
          <ac:spMkLst>
            <pc:docMk/>
            <pc:sldMk cId="189442459" sldId="3356"/>
            <ac:spMk id="52" creationId="{77843923-C13C-EF40-A8AE-D434D3180793}"/>
          </ac:spMkLst>
        </pc:spChg>
        <pc:spChg chg="mod">
          <ac:chgData name="Hafiz Muhammad Salman" userId="47f5b1ff-37b9-4dd0-a37a-3bc5aec52fa1" providerId="ADAL" clId="{1D0D03E3-3226-4873-A599-0FE1608CAE58}" dt="2024-09-10T14:59:09.478" v="146" actId="790"/>
          <ac:spMkLst>
            <pc:docMk/>
            <pc:sldMk cId="189442459" sldId="3356"/>
            <ac:spMk id="53" creationId="{F1BB2442-641A-754F-8859-958EF846B10B}"/>
          </ac:spMkLst>
        </pc:spChg>
        <pc:spChg chg="mod">
          <ac:chgData name="Hafiz Muhammad Salman" userId="47f5b1ff-37b9-4dd0-a37a-3bc5aec52fa1" providerId="ADAL" clId="{1D0D03E3-3226-4873-A599-0FE1608CAE58}" dt="2024-09-10T14:59:09.476" v="143" actId="790"/>
          <ac:spMkLst>
            <pc:docMk/>
            <pc:sldMk cId="189442459" sldId="3356"/>
            <ac:spMk id="54" creationId="{4E2359C8-F1B7-6241-B35C-99A0EC2173C3}"/>
          </ac:spMkLst>
        </pc:spChg>
        <pc:spChg chg="mod">
          <ac:chgData name="Hafiz Muhammad Salman" userId="47f5b1ff-37b9-4dd0-a37a-3bc5aec52fa1" providerId="ADAL" clId="{1D0D03E3-3226-4873-A599-0FE1608CAE58}" dt="2024-09-10T14:59:09.476" v="144" actId="790"/>
          <ac:spMkLst>
            <pc:docMk/>
            <pc:sldMk cId="189442459" sldId="3356"/>
            <ac:spMk id="55" creationId="{4BD61D5E-AAC5-2F4B-9035-D984B1A615C1}"/>
          </ac:spMkLst>
        </pc:spChg>
      </pc:sldChg>
      <pc:sldChg chg="delSp modSp del mod">
        <pc:chgData name="Hafiz Muhammad Salman" userId="47f5b1ff-37b9-4dd0-a37a-3bc5aec52fa1" providerId="ADAL" clId="{1D0D03E3-3226-4873-A599-0FE1608CAE58}" dt="2024-09-11T12:54:04.242" v="2237" actId="47"/>
        <pc:sldMkLst>
          <pc:docMk/>
          <pc:sldMk cId="4016081145" sldId="3361"/>
        </pc:sldMkLst>
        <pc:spChg chg="mod">
          <ac:chgData name="Hafiz Muhammad Salman" userId="47f5b1ff-37b9-4dd0-a37a-3bc5aec52fa1" providerId="ADAL" clId="{1D0D03E3-3226-4873-A599-0FE1608CAE58}" dt="2024-09-10T15:37:29.038" v="303" actId="790"/>
          <ac:spMkLst>
            <pc:docMk/>
            <pc:sldMk cId="4016081145" sldId="3361"/>
            <ac:spMk id="26" creationId="{F9FAEC09-1AFC-7243-B254-F67E85F1867A}"/>
          </ac:spMkLst>
        </pc:spChg>
        <pc:spChg chg="mod">
          <ac:chgData name="Hafiz Muhammad Salman" userId="47f5b1ff-37b9-4dd0-a37a-3bc5aec52fa1" providerId="ADAL" clId="{1D0D03E3-3226-4873-A599-0FE1608CAE58}" dt="2024-09-10T15:37:29.038" v="304" actId="790"/>
          <ac:spMkLst>
            <pc:docMk/>
            <pc:sldMk cId="4016081145" sldId="3361"/>
            <ac:spMk id="27" creationId="{B9A3E00E-4D93-8648-B67A-1B2F10707058}"/>
          </ac:spMkLst>
        </pc:spChg>
        <pc:spChg chg="mod">
          <ac:chgData name="Hafiz Muhammad Salman" userId="47f5b1ff-37b9-4dd0-a37a-3bc5aec52fa1" providerId="ADAL" clId="{1D0D03E3-3226-4873-A599-0FE1608CAE58}" dt="2024-09-10T15:37:29.038" v="305" actId="790"/>
          <ac:spMkLst>
            <pc:docMk/>
            <pc:sldMk cId="4016081145" sldId="3361"/>
            <ac:spMk id="28" creationId="{0B107137-BD9A-6C45-9C51-DB52A4963DFB}"/>
          </ac:spMkLst>
        </pc:spChg>
        <pc:spChg chg="mod">
          <ac:chgData name="Hafiz Muhammad Salman" userId="47f5b1ff-37b9-4dd0-a37a-3bc5aec52fa1" providerId="ADAL" clId="{1D0D03E3-3226-4873-A599-0FE1608CAE58}" dt="2024-09-10T15:37:29.022" v="300" actId="790"/>
          <ac:spMkLst>
            <pc:docMk/>
            <pc:sldMk cId="4016081145" sldId="3361"/>
            <ac:spMk id="29" creationId="{0645AA71-D293-B840-9057-F1EE40BF035A}"/>
          </ac:spMkLst>
        </pc:spChg>
        <pc:spChg chg="mod">
          <ac:chgData name="Hafiz Muhammad Salman" userId="47f5b1ff-37b9-4dd0-a37a-3bc5aec52fa1" providerId="ADAL" clId="{1D0D03E3-3226-4873-A599-0FE1608CAE58}" dt="2024-09-10T15:37:29.022" v="301" actId="790"/>
          <ac:spMkLst>
            <pc:docMk/>
            <pc:sldMk cId="4016081145" sldId="3361"/>
            <ac:spMk id="30" creationId="{BE76932A-7BFC-6B40-A216-BC2325A2D139}"/>
          </ac:spMkLst>
        </pc:spChg>
        <pc:spChg chg="mod">
          <ac:chgData name="Hafiz Muhammad Salman" userId="47f5b1ff-37b9-4dd0-a37a-3bc5aec52fa1" providerId="ADAL" clId="{1D0D03E3-3226-4873-A599-0FE1608CAE58}" dt="2024-09-10T15:37:29.022" v="302" actId="790"/>
          <ac:spMkLst>
            <pc:docMk/>
            <pc:sldMk cId="4016081145" sldId="3361"/>
            <ac:spMk id="31" creationId="{52FC48FB-4CEF-FB41-A8A2-1D3CFA1BBA1B}"/>
          </ac:spMkLst>
        </pc:spChg>
        <pc:spChg chg="mod">
          <ac:chgData name="Hafiz Muhammad Salman" userId="47f5b1ff-37b9-4dd0-a37a-3bc5aec52fa1" providerId="ADAL" clId="{1D0D03E3-3226-4873-A599-0FE1608CAE58}" dt="2024-09-10T15:37:29.022" v="297" actId="790"/>
          <ac:spMkLst>
            <pc:docMk/>
            <pc:sldMk cId="4016081145" sldId="3361"/>
            <ac:spMk id="32" creationId="{4CB90A0A-C020-B748-8756-406DF8BDE7BA}"/>
          </ac:spMkLst>
        </pc:spChg>
        <pc:spChg chg="mod">
          <ac:chgData name="Hafiz Muhammad Salman" userId="47f5b1ff-37b9-4dd0-a37a-3bc5aec52fa1" providerId="ADAL" clId="{1D0D03E3-3226-4873-A599-0FE1608CAE58}" dt="2024-09-10T15:37:29.022" v="298" actId="790"/>
          <ac:spMkLst>
            <pc:docMk/>
            <pc:sldMk cId="4016081145" sldId="3361"/>
            <ac:spMk id="33" creationId="{71A2B7D7-8594-574C-B860-117F69FDFB52}"/>
          </ac:spMkLst>
        </pc:spChg>
        <pc:spChg chg="mod">
          <ac:chgData name="Hafiz Muhammad Salman" userId="47f5b1ff-37b9-4dd0-a37a-3bc5aec52fa1" providerId="ADAL" clId="{1D0D03E3-3226-4873-A599-0FE1608CAE58}" dt="2024-09-10T15:37:29.022" v="299" actId="790"/>
          <ac:spMkLst>
            <pc:docMk/>
            <pc:sldMk cId="4016081145" sldId="3361"/>
            <ac:spMk id="34" creationId="{51598A30-77D5-4347-A525-7D39D3EA60BD}"/>
          </ac:spMkLst>
        </pc:spChg>
        <pc:spChg chg="mod">
          <ac:chgData name="Hafiz Muhammad Salman" userId="47f5b1ff-37b9-4dd0-a37a-3bc5aec52fa1" providerId="ADAL" clId="{1D0D03E3-3226-4873-A599-0FE1608CAE58}" dt="2024-09-10T15:37:29.042" v="318" actId="790"/>
          <ac:spMkLst>
            <pc:docMk/>
            <pc:sldMk cId="4016081145" sldId="3361"/>
            <ac:spMk id="40" creationId="{82B5D1C8-C448-DB4B-B58D-6A3D470AFABE}"/>
          </ac:spMkLst>
        </pc:spChg>
        <pc:spChg chg="mod">
          <ac:chgData name="Hafiz Muhammad Salman" userId="47f5b1ff-37b9-4dd0-a37a-3bc5aec52fa1" providerId="ADAL" clId="{1D0D03E3-3226-4873-A599-0FE1608CAE58}" dt="2024-09-10T15:37:29.042" v="319" actId="790"/>
          <ac:spMkLst>
            <pc:docMk/>
            <pc:sldMk cId="4016081145" sldId="3361"/>
            <ac:spMk id="41" creationId="{C11BAABC-0468-A14B-8225-6CF03ACFD2F8}"/>
          </ac:spMkLst>
        </pc:spChg>
        <pc:spChg chg="mod">
          <ac:chgData name="Hafiz Muhammad Salman" userId="47f5b1ff-37b9-4dd0-a37a-3bc5aec52fa1" providerId="ADAL" clId="{1D0D03E3-3226-4873-A599-0FE1608CAE58}" dt="2024-09-10T15:37:29.042" v="320" actId="790"/>
          <ac:spMkLst>
            <pc:docMk/>
            <pc:sldMk cId="4016081145" sldId="3361"/>
            <ac:spMk id="42" creationId="{5836E84E-F57A-654B-A1AB-47707B0929C4}"/>
          </ac:spMkLst>
        </pc:spChg>
        <pc:spChg chg="mod">
          <ac:chgData name="Hafiz Muhammad Salman" userId="47f5b1ff-37b9-4dd0-a37a-3bc5aec52fa1" providerId="ADAL" clId="{1D0D03E3-3226-4873-A599-0FE1608CAE58}" dt="2024-09-10T15:37:29.042" v="315" actId="790"/>
          <ac:spMkLst>
            <pc:docMk/>
            <pc:sldMk cId="4016081145" sldId="3361"/>
            <ac:spMk id="43" creationId="{DFC9F231-A2BD-4243-A3BA-37A1C755CA93}"/>
          </ac:spMkLst>
        </pc:spChg>
        <pc:spChg chg="mod">
          <ac:chgData name="Hafiz Muhammad Salman" userId="47f5b1ff-37b9-4dd0-a37a-3bc5aec52fa1" providerId="ADAL" clId="{1D0D03E3-3226-4873-A599-0FE1608CAE58}" dt="2024-09-10T15:37:29.042" v="316" actId="790"/>
          <ac:spMkLst>
            <pc:docMk/>
            <pc:sldMk cId="4016081145" sldId="3361"/>
            <ac:spMk id="44" creationId="{853B51A3-4FED-A54A-BB82-216EB90F6D27}"/>
          </ac:spMkLst>
        </pc:spChg>
        <pc:spChg chg="mod">
          <ac:chgData name="Hafiz Muhammad Salman" userId="47f5b1ff-37b9-4dd0-a37a-3bc5aec52fa1" providerId="ADAL" clId="{1D0D03E3-3226-4873-A599-0FE1608CAE58}" dt="2024-09-10T15:37:29.042" v="317" actId="790"/>
          <ac:spMkLst>
            <pc:docMk/>
            <pc:sldMk cId="4016081145" sldId="3361"/>
            <ac:spMk id="45" creationId="{C6987752-B0AE-9142-816B-642AE5FDE5FF}"/>
          </ac:spMkLst>
        </pc:spChg>
        <pc:spChg chg="mod">
          <ac:chgData name="Hafiz Muhammad Salman" userId="47f5b1ff-37b9-4dd0-a37a-3bc5aec52fa1" providerId="ADAL" clId="{1D0D03E3-3226-4873-A599-0FE1608CAE58}" dt="2024-09-10T15:37:29.042" v="312" actId="790"/>
          <ac:spMkLst>
            <pc:docMk/>
            <pc:sldMk cId="4016081145" sldId="3361"/>
            <ac:spMk id="46" creationId="{67AA814B-2149-2040-8E41-048A751CD473}"/>
          </ac:spMkLst>
        </pc:spChg>
        <pc:spChg chg="mod">
          <ac:chgData name="Hafiz Muhammad Salman" userId="47f5b1ff-37b9-4dd0-a37a-3bc5aec52fa1" providerId="ADAL" clId="{1D0D03E3-3226-4873-A599-0FE1608CAE58}" dt="2024-09-10T15:37:29.042" v="313" actId="790"/>
          <ac:spMkLst>
            <pc:docMk/>
            <pc:sldMk cId="4016081145" sldId="3361"/>
            <ac:spMk id="47" creationId="{342F303F-D1AB-074E-9822-58F2C669CFF3}"/>
          </ac:spMkLst>
        </pc:spChg>
        <pc:spChg chg="mod">
          <ac:chgData name="Hafiz Muhammad Salman" userId="47f5b1ff-37b9-4dd0-a37a-3bc5aec52fa1" providerId="ADAL" clId="{1D0D03E3-3226-4873-A599-0FE1608CAE58}" dt="2024-09-10T15:37:29.042" v="314" actId="790"/>
          <ac:spMkLst>
            <pc:docMk/>
            <pc:sldMk cId="4016081145" sldId="3361"/>
            <ac:spMk id="48" creationId="{89BE38C0-4A1F-9E4A-AE90-194C1376EA43}"/>
          </ac:spMkLst>
        </pc:spChg>
        <pc:spChg chg="mod">
          <ac:chgData name="Hafiz Muhammad Salman" userId="47f5b1ff-37b9-4dd0-a37a-3bc5aec52fa1" providerId="ADAL" clId="{1D0D03E3-3226-4873-A599-0FE1608CAE58}" dt="2024-09-10T15:37:29.042" v="309" actId="790"/>
          <ac:spMkLst>
            <pc:docMk/>
            <pc:sldMk cId="4016081145" sldId="3361"/>
            <ac:spMk id="49" creationId="{27BADFE6-2BC8-4443-A49D-357F920BB937}"/>
          </ac:spMkLst>
        </pc:spChg>
        <pc:spChg chg="mod">
          <ac:chgData name="Hafiz Muhammad Salman" userId="47f5b1ff-37b9-4dd0-a37a-3bc5aec52fa1" providerId="ADAL" clId="{1D0D03E3-3226-4873-A599-0FE1608CAE58}" dt="2024-09-10T15:37:29.042" v="310" actId="790"/>
          <ac:spMkLst>
            <pc:docMk/>
            <pc:sldMk cId="4016081145" sldId="3361"/>
            <ac:spMk id="50" creationId="{602B0B5D-14DB-584A-AB2D-FF2C872259C6}"/>
          </ac:spMkLst>
        </pc:spChg>
        <pc:spChg chg="mod">
          <ac:chgData name="Hafiz Muhammad Salman" userId="47f5b1ff-37b9-4dd0-a37a-3bc5aec52fa1" providerId="ADAL" clId="{1D0D03E3-3226-4873-A599-0FE1608CAE58}" dt="2024-09-10T15:37:29.042" v="311" actId="790"/>
          <ac:spMkLst>
            <pc:docMk/>
            <pc:sldMk cId="4016081145" sldId="3361"/>
            <ac:spMk id="51" creationId="{54483F18-1678-3B46-82AB-379E0CC25E78}"/>
          </ac:spMkLst>
        </pc:spChg>
        <pc:spChg chg="mod">
          <ac:chgData name="Hafiz Muhammad Salman" userId="47f5b1ff-37b9-4dd0-a37a-3bc5aec52fa1" providerId="ADAL" clId="{1D0D03E3-3226-4873-A599-0FE1608CAE58}" dt="2024-09-10T15:37:29.038" v="306" actId="790"/>
          <ac:spMkLst>
            <pc:docMk/>
            <pc:sldMk cId="4016081145" sldId="3361"/>
            <ac:spMk id="52" creationId="{03E1AD90-5661-C843-968E-225CEC419ACF}"/>
          </ac:spMkLst>
        </pc:spChg>
        <pc:spChg chg="mod">
          <ac:chgData name="Hafiz Muhammad Salman" userId="47f5b1ff-37b9-4dd0-a37a-3bc5aec52fa1" providerId="ADAL" clId="{1D0D03E3-3226-4873-A599-0FE1608CAE58}" dt="2024-09-10T15:37:29.041" v="307" actId="790"/>
          <ac:spMkLst>
            <pc:docMk/>
            <pc:sldMk cId="4016081145" sldId="3361"/>
            <ac:spMk id="53" creationId="{3BF2AD86-5CB4-5142-BEA4-9396A33E4A8F}"/>
          </ac:spMkLst>
        </pc:spChg>
        <pc:spChg chg="mod">
          <ac:chgData name="Hafiz Muhammad Salman" userId="47f5b1ff-37b9-4dd0-a37a-3bc5aec52fa1" providerId="ADAL" clId="{1D0D03E3-3226-4873-A599-0FE1608CAE58}" dt="2024-09-10T15:37:29.042" v="308" actId="790"/>
          <ac:spMkLst>
            <pc:docMk/>
            <pc:sldMk cId="4016081145" sldId="3361"/>
            <ac:spMk id="54" creationId="{B914B723-21CC-054A-AC3E-A23DC211111B}"/>
          </ac:spMkLst>
        </pc:spChg>
        <pc:spChg chg="mod">
          <ac:chgData name="Hafiz Muhammad Salman" userId="47f5b1ff-37b9-4dd0-a37a-3bc5aec52fa1" providerId="ADAL" clId="{1D0D03E3-3226-4873-A599-0FE1608CAE58}" dt="2024-09-10T15:37:29.042" v="330" actId="790"/>
          <ac:spMkLst>
            <pc:docMk/>
            <pc:sldMk cId="4016081145" sldId="3361"/>
            <ac:spMk id="59" creationId="{3712FA73-66B1-2341-947D-DE9F01326EEF}"/>
          </ac:spMkLst>
        </pc:spChg>
        <pc:spChg chg="mod">
          <ac:chgData name="Hafiz Muhammad Salman" userId="47f5b1ff-37b9-4dd0-a37a-3bc5aec52fa1" providerId="ADAL" clId="{1D0D03E3-3226-4873-A599-0FE1608CAE58}" dt="2024-09-10T15:37:29.059" v="331" actId="790"/>
          <ac:spMkLst>
            <pc:docMk/>
            <pc:sldMk cId="4016081145" sldId="3361"/>
            <ac:spMk id="60" creationId="{E7A03E39-51A5-0A4C-B720-B781797FC3A7}"/>
          </ac:spMkLst>
        </pc:spChg>
        <pc:spChg chg="mod">
          <ac:chgData name="Hafiz Muhammad Salman" userId="47f5b1ff-37b9-4dd0-a37a-3bc5aec52fa1" providerId="ADAL" clId="{1D0D03E3-3226-4873-A599-0FE1608CAE58}" dt="2024-09-10T15:37:29.060" v="332" actId="790"/>
          <ac:spMkLst>
            <pc:docMk/>
            <pc:sldMk cId="4016081145" sldId="3361"/>
            <ac:spMk id="61" creationId="{64AA6180-6CCC-E549-9D46-928D50A37425}"/>
          </ac:spMkLst>
        </pc:spChg>
        <pc:spChg chg="mod">
          <ac:chgData name="Hafiz Muhammad Salman" userId="47f5b1ff-37b9-4dd0-a37a-3bc5aec52fa1" providerId="ADAL" clId="{1D0D03E3-3226-4873-A599-0FE1608CAE58}" dt="2024-09-10T15:37:29.042" v="327" actId="790"/>
          <ac:spMkLst>
            <pc:docMk/>
            <pc:sldMk cId="4016081145" sldId="3361"/>
            <ac:spMk id="62" creationId="{18A96446-CF30-5E4C-96C8-7465961D807F}"/>
          </ac:spMkLst>
        </pc:spChg>
        <pc:spChg chg="mod">
          <ac:chgData name="Hafiz Muhammad Salman" userId="47f5b1ff-37b9-4dd0-a37a-3bc5aec52fa1" providerId="ADAL" clId="{1D0D03E3-3226-4873-A599-0FE1608CAE58}" dt="2024-09-10T15:37:29.042" v="328" actId="790"/>
          <ac:spMkLst>
            <pc:docMk/>
            <pc:sldMk cId="4016081145" sldId="3361"/>
            <ac:spMk id="63" creationId="{D09E0A32-39B9-D141-BD61-20FE464D4F2F}"/>
          </ac:spMkLst>
        </pc:spChg>
        <pc:spChg chg="mod">
          <ac:chgData name="Hafiz Muhammad Salman" userId="47f5b1ff-37b9-4dd0-a37a-3bc5aec52fa1" providerId="ADAL" clId="{1D0D03E3-3226-4873-A599-0FE1608CAE58}" dt="2024-09-10T15:37:29.042" v="329" actId="790"/>
          <ac:spMkLst>
            <pc:docMk/>
            <pc:sldMk cId="4016081145" sldId="3361"/>
            <ac:spMk id="64" creationId="{8FB252E8-7255-0246-A1DF-E9FA72A443AF}"/>
          </ac:spMkLst>
        </pc:spChg>
        <pc:spChg chg="mod">
          <ac:chgData name="Hafiz Muhammad Salman" userId="47f5b1ff-37b9-4dd0-a37a-3bc5aec52fa1" providerId="ADAL" clId="{1D0D03E3-3226-4873-A599-0FE1608CAE58}" dt="2024-09-10T15:37:29.042" v="324" actId="790"/>
          <ac:spMkLst>
            <pc:docMk/>
            <pc:sldMk cId="4016081145" sldId="3361"/>
            <ac:spMk id="65" creationId="{42E8F0CB-5F95-604F-A53F-ABAB615C13CA}"/>
          </ac:spMkLst>
        </pc:spChg>
        <pc:spChg chg="mod">
          <ac:chgData name="Hafiz Muhammad Salman" userId="47f5b1ff-37b9-4dd0-a37a-3bc5aec52fa1" providerId="ADAL" clId="{1D0D03E3-3226-4873-A599-0FE1608CAE58}" dt="2024-09-10T15:37:29.042" v="325" actId="790"/>
          <ac:spMkLst>
            <pc:docMk/>
            <pc:sldMk cId="4016081145" sldId="3361"/>
            <ac:spMk id="66" creationId="{6EAE252E-9353-B34F-8E54-DE29B97E979D}"/>
          </ac:spMkLst>
        </pc:spChg>
        <pc:spChg chg="mod">
          <ac:chgData name="Hafiz Muhammad Salman" userId="47f5b1ff-37b9-4dd0-a37a-3bc5aec52fa1" providerId="ADAL" clId="{1D0D03E3-3226-4873-A599-0FE1608CAE58}" dt="2024-09-10T15:37:29.042" v="326" actId="790"/>
          <ac:spMkLst>
            <pc:docMk/>
            <pc:sldMk cId="4016081145" sldId="3361"/>
            <ac:spMk id="67" creationId="{2931CDE0-1BAE-1C44-A26F-CED0827D177C}"/>
          </ac:spMkLst>
        </pc:spChg>
        <pc:spChg chg="mod">
          <ac:chgData name="Hafiz Muhammad Salman" userId="47f5b1ff-37b9-4dd0-a37a-3bc5aec52fa1" providerId="ADAL" clId="{1D0D03E3-3226-4873-A599-0FE1608CAE58}" dt="2024-09-10T15:37:29.042" v="321" actId="790"/>
          <ac:spMkLst>
            <pc:docMk/>
            <pc:sldMk cId="4016081145" sldId="3361"/>
            <ac:spMk id="68" creationId="{53B3DB71-1454-D149-B2E8-02CBD7953A32}"/>
          </ac:spMkLst>
        </pc:spChg>
        <pc:spChg chg="mod">
          <ac:chgData name="Hafiz Muhammad Salman" userId="47f5b1ff-37b9-4dd0-a37a-3bc5aec52fa1" providerId="ADAL" clId="{1D0D03E3-3226-4873-A599-0FE1608CAE58}" dt="2024-09-10T15:37:29.042" v="322" actId="790"/>
          <ac:spMkLst>
            <pc:docMk/>
            <pc:sldMk cId="4016081145" sldId="3361"/>
            <ac:spMk id="69" creationId="{9F01FE92-5DFD-1B45-A805-9F27540DCB20}"/>
          </ac:spMkLst>
        </pc:spChg>
        <pc:spChg chg="mod">
          <ac:chgData name="Hafiz Muhammad Salman" userId="47f5b1ff-37b9-4dd0-a37a-3bc5aec52fa1" providerId="ADAL" clId="{1D0D03E3-3226-4873-A599-0FE1608CAE58}" dt="2024-09-10T15:37:29.042" v="323" actId="790"/>
          <ac:spMkLst>
            <pc:docMk/>
            <pc:sldMk cId="4016081145" sldId="3361"/>
            <ac:spMk id="70" creationId="{C3F7F0B3-8C66-9E47-B938-92B30B642AD6}"/>
          </ac:spMkLst>
        </pc:spChg>
        <pc:spChg chg="del mod">
          <ac:chgData name="Hafiz Muhammad Salman" userId="47f5b1ff-37b9-4dd0-a37a-3bc5aec52fa1" providerId="ADAL" clId="{1D0D03E3-3226-4873-A599-0FE1608CAE58}" dt="2024-09-10T15:37:46.420" v="347" actId="478"/>
          <ac:spMkLst>
            <pc:docMk/>
            <pc:sldMk cId="4016081145" sldId="3361"/>
            <ac:spMk id="74" creationId="{CD65C5D6-54A1-C74D-A7C1-AA787C33770E}"/>
          </ac:spMkLst>
        </pc:spChg>
        <pc:spChg chg="del mod">
          <ac:chgData name="Hafiz Muhammad Salman" userId="47f5b1ff-37b9-4dd0-a37a-3bc5aec52fa1" providerId="ADAL" clId="{1D0D03E3-3226-4873-A599-0FE1608CAE58}" dt="2024-09-10T15:37:44.934" v="346" actId="478"/>
          <ac:spMkLst>
            <pc:docMk/>
            <pc:sldMk cId="4016081145" sldId="3361"/>
            <ac:spMk id="75" creationId="{BF36CB8D-3840-1C40-BA82-BC908D6BE32D}"/>
          </ac:spMkLst>
        </pc:spChg>
        <pc:spChg chg="del mod">
          <ac:chgData name="Hafiz Muhammad Salman" userId="47f5b1ff-37b9-4dd0-a37a-3bc5aec52fa1" providerId="ADAL" clId="{1D0D03E3-3226-4873-A599-0FE1608CAE58}" dt="2024-09-10T15:37:47.452" v="348" actId="478"/>
          <ac:spMkLst>
            <pc:docMk/>
            <pc:sldMk cId="4016081145" sldId="3361"/>
            <ac:spMk id="76" creationId="{148784E6-6991-544C-B5C0-677BE97216EF}"/>
          </ac:spMkLst>
        </pc:spChg>
        <pc:spChg chg="mod">
          <ac:chgData name="Hafiz Muhammad Salman" userId="47f5b1ff-37b9-4dd0-a37a-3bc5aec52fa1" providerId="ADAL" clId="{1D0D03E3-3226-4873-A599-0FE1608CAE58}" dt="2024-09-10T15:37:29.060" v="336" actId="790"/>
          <ac:spMkLst>
            <pc:docMk/>
            <pc:sldMk cId="4016081145" sldId="3361"/>
            <ac:spMk id="77" creationId="{3222AE75-00A7-2E4E-8A21-2AE59633A567}"/>
          </ac:spMkLst>
        </pc:spChg>
        <pc:spChg chg="mod">
          <ac:chgData name="Hafiz Muhammad Salman" userId="47f5b1ff-37b9-4dd0-a37a-3bc5aec52fa1" providerId="ADAL" clId="{1D0D03E3-3226-4873-A599-0FE1608CAE58}" dt="2024-09-10T15:37:29.060" v="337" actId="790"/>
          <ac:spMkLst>
            <pc:docMk/>
            <pc:sldMk cId="4016081145" sldId="3361"/>
            <ac:spMk id="78" creationId="{D1E9262B-350E-C540-A84B-3EDD17E1A1E1}"/>
          </ac:spMkLst>
        </pc:spChg>
        <pc:spChg chg="mod">
          <ac:chgData name="Hafiz Muhammad Salman" userId="47f5b1ff-37b9-4dd0-a37a-3bc5aec52fa1" providerId="ADAL" clId="{1D0D03E3-3226-4873-A599-0FE1608CAE58}" dt="2024-09-10T15:37:29.060" v="338" actId="790"/>
          <ac:spMkLst>
            <pc:docMk/>
            <pc:sldMk cId="4016081145" sldId="3361"/>
            <ac:spMk id="79" creationId="{5AF04AA8-5434-214B-AA94-86A2D88FBB81}"/>
          </ac:spMkLst>
        </pc:spChg>
        <pc:spChg chg="mod">
          <ac:chgData name="Hafiz Muhammad Salman" userId="47f5b1ff-37b9-4dd0-a37a-3bc5aec52fa1" providerId="ADAL" clId="{1D0D03E3-3226-4873-A599-0FE1608CAE58}" dt="2024-09-10T15:38:03.549" v="380" actId="1037"/>
          <ac:spMkLst>
            <pc:docMk/>
            <pc:sldMk cId="4016081145" sldId="3361"/>
            <ac:spMk id="80" creationId="{B4E51CEE-9F01-6F42-8D87-7A0372063A88}"/>
          </ac:spMkLst>
        </pc:spChg>
        <pc:spChg chg="mod">
          <ac:chgData name="Hafiz Muhammad Salman" userId="47f5b1ff-37b9-4dd0-a37a-3bc5aec52fa1" providerId="ADAL" clId="{1D0D03E3-3226-4873-A599-0FE1608CAE58}" dt="2024-09-10T15:37:55.585" v="360" actId="1037"/>
          <ac:spMkLst>
            <pc:docMk/>
            <pc:sldMk cId="4016081145" sldId="3361"/>
            <ac:spMk id="81" creationId="{FAEBF4B6-6AAA-1D44-A232-17393C71CD7F}"/>
          </ac:spMkLst>
        </pc:spChg>
        <pc:spChg chg="mod">
          <ac:chgData name="Hafiz Muhammad Salman" userId="47f5b1ff-37b9-4dd0-a37a-3bc5aec52fa1" providerId="ADAL" clId="{1D0D03E3-3226-4873-A599-0FE1608CAE58}" dt="2024-09-10T15:37:29.060" v="341" actId="790"/>
          <ac:spMkLst>
            <pc:docMk/>
            <pc:sldMk cId="4016081145" sldId="3361"/>
            <ac:spMk id="82" creationId="{CB698A24-A6D7-0B4D-8560-503594B47FAC}"/>
          </ac:spMkLst>
        </pc:spChg>
        <pc:spChg chg="mod">
          <ac:chgData name="Hafiz Muhammad Salman" userId="47f5b1ff-37b9-4dd0-a37a-3bc5aec52fa1" providerId="ADAL" clId="{1D0D03E3-3226-4873-A599-0FE1608CAE58}" dt="2024-09-10T15:37:29.060" v="342" actId="790"/>
          <ac:spMkLst>
            <pc:docMk/>
            <pc:sldMk cId="4016081145" sldId="3361"/>
            <ac:spMk id="83" creationId="{8AFBBC3F-02E5-7241-8C14-2E8E47A8BBEF}"/>
          </ac:spMkLst>
        </pc:spChg>
        <pc:spChg chg="mod">
          <ac:chgData name="Hafiz Muhammad Salman" userId="47f5b1ff-37b9-4dd0-a37a-3bc5aec52fa1" providerId="ADAL" clId="{1D0D03E3-3226-4873-A599-0FE1608CAE58}" dt="2024-09-10T15:37:29.060" v="343" actId="790"/>
          <ac:spMkLst>
            <pc:docMk/>
            <pc:sldMk cId="4016081145" sldId="3361"/>
            <ac:spMk id="84" creationId="{C2A3C781-B7FE-BD44-B055-74F4084E0821}"/>
          </ac:spMkLst>
        </pc:spChg>
        <pc:spChg chg="mod">
          <ac:chgData name="Hafiz Muhammad Salman" userId="47f5b1ff-37b9-4dd0-a37a-3bc5aec52fa1" providerId="ADAL" clId="{1D0D03E3-3226-4873-A599-0FE1608CAE58}" dt="2024-09-10T15:37:29.060" v="344" actId="790"/>
          <ac:spMkLst>
            <pc:docMk/>
            <pc:sldMk cId="4016081145" sldId="3361"/>
            <ac:spMk id="85" creationId="{267FE131-0B0E-BE4A-8FF8-56F58B4FB1AD}"/>
          </ac:spMkLst>
        </pc:spChg>
        <pc:grpChg chg="del">
          <ac:chgData name="Hafiz Muhammad Salman" userId="47f5b1ff-37b9-4dd0-a37a-3bc5aec52fa1" providerId="ADAL" clId="{1D0D03E3-3226-4873-A599-0FE1608CAE58}" dt="2024-09-10T15:37:34.667" v="345" actId="478"/>
          <ac:grpSpMkLst>
            <pc:docMk/>
            <pc:sldMk cId="4016081145" sldId="3361"/>
            <ac:grpSpMk id="73" creationId="{A3A3172B-9485-7940-A7C7-1B10A1AE4572}"/>
          </ac:grpSpMkLst>
        </pc:grpChg>
      </pc:sldChg>
      <pc:sldChg chg="del">
        <pc:chgData name="Hafiz Muhammad Salman" userId="47f5b1ff-37b9-4dd0-a37a-3bc5aec52fa1" providerId="ADAL" clId="{1D0D03E3-3226-4873-A599-0FE1608CAE58}" dt="2024-09-11T13:21:48.609" v="2598" actId="47"/>
        <pc:sldMkLst>
          <pc:docMk/>
          <pc:sldMk cId="1911128835" sldId="3363"/>
        </pc:sldMkLst>
      </pc:sldChg>
      <pc:sldChg chg="del">
        <pc:chgData name="Hafiz Muhammad Salman" userId="47f5b1ff-37b9-4dd0-a37a-3bc5aec52fa1" providerId="ADAL" clId="{1D0D03E3-3226-4873-A599-0FE1608CAE58}" dt="2024-09-11T13:21:55.657" v="2604" actId="47"/>
        <pc:sldMkLst>
          <pc:docMk/>
          <pc:sldMk cId="226949130" sldId="3398"/>
        </pc:sldMkLst>
      </pc:sldChg>
      <pc:sldChg chg="del">
        <pc:chgData name="Hafiz Muhammad Salman" userId="47f5b1ff-37b9-4dd0-a37a-3bc5aec52fa1" providerId="ADAL" clId="{1D0D03E3-3226-4873-A599-0FE1608CAE58}" dt="2024-09-11T13:21:53.408" v="2602" actId="47"/>
        <pc:sldMkLst>
          <pc:docMk/>
          <pc:sldMk cId="2406935485" sldId="3399"/>
        </pc:sldMkLst>
      </pc:sldChg>
      <pc:sldChg chg="del">
        <pc:chgData name="Hafiz Muhammad Salman" userId="47f5b1ff-37b9-4dd0-a37a-3bc5aec52fa1" providerId="ADAL" clId="{1D0D03E3-3226-4873-A599-0FE1608CAE58}" dt="2024-09-11T13:21:52.408" v="2601" actId="47"/>
        <pc:sldMkLst>
          <pc:docMk/>
          <pc:sldMk cId="3979089822" sldId="3400"/>
        </pc:sldMkLst>
      </pc:sldChg>
      <pc:sldChg chg="addSp delSp modSp del mod">
        <pc:chgData name="Hafiz Muhammad Salman" userId="47f5b1ff-37b9-4dd0-a37a-3bc5aec52fa1" providerId="ADAL" clId="{1D0D03E3-3226-4873-A599-0FE1608CAE58}" dt="2024-09-11T13:22:08.056" v="2609" actId="47"/>
        <pc:sldMkLst>
          <pc:docMk/>
          <pc:sldMk cId="161173016" sldId="3405"/>
        </pc:sldMkLst>
        <pc:spChg chg="mod">
          <ac:chgData name="Hafiz Muhammad Salman" userId="47f5b1ff-37b9-4dd0-a37a-3bc5aec52fa1" providerId="ADAL" clId="{1D0D03E3-3226-4873-A599-0FE1608CAE58}" dt="2024-09-11T07:48:35.603" v="1005"/>
          <ac:spMkLst>
            <pc:docMk/>
            <pc:sldMk cId="161173016" sldId="3405"/>
            <ac:spMk id="12" creationId="{D6B4C93C-F14B-BB46-8435-A307FC77AD22}"/>
          </ac:spMkLst>
        </pc:spChg>
        <pc:spChg chg="mod">
          <ac:chgData name="Hafiz Muhammad Salman" userId="47f5b1ff-37b9-4dd0-a37a-3bc5aec52fa1" providerId="ADAL" clId="{1D0D03E3-3226-4873-A599-0FE1608CAE58}" dt="2024-09-11T07:49:03.610" v="1009"/>
          <ac:spMkLst>
            <pc:docMk/>
            <pc:sldMk cId="161173016" sldId="3405"/>
            <ac:spMk id="25" creationId="{68E96135-0278-B44B-9654-4CA63687E5B0}"/>
          </ac:spMkLst>
        </pc:spChg>
        <pc:spChg chg="mod">
          <ac:chgData name="Hafiz Muhammad Salman" userId="47f5b1ff-37b9-4dd0-a37a-3bc5aec52fa1" providerId="ADAL" clId="{1D0D03E3-3226-4873-A599-0FE1608CAE58}" dt="2024-09-11T07:48:46.940" v="1006"/>
          <ac:spMkLst>
            <pc:docMk/>
            <pc:sldMk cId="161173016" sldId="3405"/>
            <ac:spMk id="28" creationId="{782BBC59-7868-794D-9929-0496AC53ABA0}"/>
          </ac:spMkLst>
        </pc:spChg>
        <pc:picChg chg="add del mod">
          <ac:chgData name="Hafiz Muhammad Salman" userId="47f5b1ff-37b9-4dd0-a37a-3bc5aec52fa1" providerId="ADAL" clId="{1D0D03E3-3226-4873-A599-0FE1608CAE58}" dt="2024-09-11T07:51:49.036" v="1014" actId="478"/>
          <ac:picMkLst>
            <pc:docMk/>
            <pc:sldMk cId="161173016" sldId="3405"/>
            <ac:picMk id="5" creationId="{A49BAC27-841D-826A-9139-0DC25F515A67}"/>
          </ac:picMkLst>
        </pc:picChg>
        <pc:picChg chg="add del mod">
          <ac:chgData name="Hafiz Muhammad Salman" userId="47f5b1ff-37b9-4dd0-a37a-3bc5aec52fa1" providerId="ADAL" clId="{1D0D03E3-3226-4873-A599-0FE1608CAE58}" dt="2024-09-11T07:52:22.957" v="1019" actId="478"/>
          <ac:picMkLst>
            <pc:docMk/>
            <pc:sldMk cId="161173016" sldId="3405"/>
            <ac:picMk id="7" creationId="{BDF406CD-270A-386B-F650-6D6A15CDD97A}"/>
          </ac:picMkLst>
        </pc:picChg>
        <pc:picChg chg="add mod">
          <ac:chgData name="Hafiz Muhammad Salman" userId="47f5b1ff-37b9-4dd0-a37a-3bc5aec52fa1" providerId="ADAL" clId="{1D0D03E3-3226-4873-A599-0FE1608CAE58}" dt="2024-09-11T07:52:46.899" v="1027" actId="1076"/>
          <ac:picMkLst>
            <pc:docMk/>
            <pc:sldMk cId="161173016" sldId="3405"/>
            <ac:picMk id="9" creationId="{CCB1F8D0-8B1C-E31D-8EBD-9D13F8C5FAFA}"/>
          </ac:picMkLst>
        </pc:picChg>
        <pc:picChg chg="del">
          <ac:chgData name="Hafiz Muhammad Salman" userId="47f5b1ff-37b9-4dd0-a37a-3bc5aec52fa1" providerId="ADAL" clId="{1D0D03E3-3226-4873-A599-0FE1608CAE58}" dt="2024-09-11T07:52:26.681" v="1023" actId="478"/>
          <ac:picMkLst>
            <pc:docMk/>
            <pc:sldMk cId="161173016" sldId="3405"/>
            <ac:picMk id="18" creationId="{F570B91A-7ACB-3F82-4532-5104F3549CDF}"/>
          </ac:picMkLst>
        </pc:picChg>
      </pc:sldChg>
      <pc:sldChg chg="del">
        <pc:chgData name="Hafiz Muhammad Salman" userId="47f5b1ff-37b9-4dd0-a37a-3bc5aec52fa1" providerId="ADAL" clId="{1D0D03E3-3226-4873-A599-0FE1608CAE58}" dt="2024-09-11T13:21:01.596" v="2588" actId="47"/>
        <pc:sldMkLst>
          <pc:docMk/>
          <pc:sldMk cId="2320958738" sldId="4059"/>
        </pc:sldMkLst>
      </pc:sldChg>
      <pc:sldChg chg="del">
        <pc:chgData name="Hafiz Muhammad Salman" userId="47f5b1ff-37b9-4dd0-a37a-3bc5aec52fa1" providerId="ADAL" clId="{1D0D03E3-3226-4873-A599-0FE1608CAE58}" dt="2024-09-11T13:19:58.201" v="2574" actId="47"/>
        <pc:sldMkLst>
          <pc:docMk/>
          <pc:sldMk cId="1559504805" sldId="4060"/>
        </pc:sldMkLst>
      </pc:sldChg>
      <pc:sldChg chg="del">
        <pc:chgData name="Hafiz Muhammad Salman" userId="47f5b1ff-37b9-4dd0-a37a-3bc5aec52fa1" providerId="ADAL" clId="{1D0D03E3-3226-4873-A599-0FE1608CAE58}" dt="2024-09-11T13:21:47.090" v="2597" actId="47"/>
        <pc:sldMkLst>
          <pc:docMk/>
          <pc:sldMk cId="2276906331" sldId="4061"/>
        </pc:sldMkLst>
      </pc:sldChg>
      <pc:sldChg chg="addSp delSp modSp mod modNotesTx">
        <pc:chgData name="Hafiz Muhammad Salman" userId="47f5b1ff-37b9-4dd0-a37a-3bc5aec52fa1" providerId="ADAL" clId="{1D0D03E3-3226-4873-A599-0FE1608CAE58}" dt="2024-09-19T08:52:24.831" v="5703"/>
        <pc:sldMkLst>
          <pc:docMk/>
          <pc:sldMk cId="434036002" sldId="4066"/>
        </pc:sldMkLst>
        <pc:spChg chg="mod">
          <ac:chgData name="Hafiz Muhammad Salman" userId="47f5b1ff-37b9-4dd0-a37a-3bc5aec52fa1" providerId="ADAL" clId="{1D0D03E3-3226-4873-A599-0FE1608CAE58}" dt="2024-09-12T14:48:05.133" v="4203" actId="1037"/>
          <ac:spMkLst>
            <pc:docMk/>
            <pc:sldMk cId="434036002" sldId="4066"/>
            <ac:spMk id="2" creationId="{6076B468-3628-A34E-8D62-2526308D830B}"/>
          </ac:spMkLst>
        </pc:spChg>
        <pc:spChg chg="del mod">
          <ac:chgData name="Hafiz Muhammad Salman" userId="47f5b1ff-37b9-4dd0-a37a-3bc5aec52fa1" providerId="ADAL" clId="{1D0D03E3-3226-4873-A599-0FE1608CAE58}" dt="2024-09-12T14:22:02.540" v="3985" actId="478"/>
          <ac:spMkLst>
            <pc:docMk/>
            <pc:sldMk cId="434036002" sldId="4066"/>
            <ac:spMk id="3" creationId="{79416472-0357-E949-B0E3-9E67C4E1A8B3}"/>
          </ac:spMkLst>
        </pc:spChg>
        <pc:spChg chg="del mod">
          <ac:chgData name="Hafiz Muhammad Salman" userId="47f5b1ff-37b9-4dd0-a37a-3bc5aec52fa1" providerId="ADAL" clId="{1D0D03E3-3226-4873-A599-0FE1608CAE58}" dt="2024-09-11T11:33:39.668" v="1648" actId="478"/>
          <ac:spMkLst>
            <pc:docMk/>
            <pc:sldMk cId="434036002" sldId="4066"/>
            <ac:spMk id="4" creationId="{30A562BB-3F24-AD4E-A1B6-B0B546F222FB}"/>
          </ac:spMkLst>
        </pc:spChg>
        <pc:spChg chg="add del mod">
          <ac:chgData name="Hafiz Muhammad Salman" userId="47f5b1ff-37b9-4dd0-a37a-3bc5aec52fa1" providerId="ADAL" clId="{1D0D03E3-3226-4873-A599-0FE1608CAE58}" dt="2024-09-12T14:48:05.133" v="4203" actId="1037"/>
          <ac:spMkLst>
            <pc:docMk/>
            <pc:sldMk cId="434036002" sldId="4066"/>
            <ac:spMk id="5" creationId="{90051B68-682F-A042-81FC-EB1F2336F9F3}"/>
          </ac:spMkLst>
        </pc:spChg>
        <pc:spChg chg="mod">
          <ac:chgData name="Hafiz Muhammad Salman" userId="47f5b1ff-37b9-4dd0-a37a-3bc5aec52fa1" providerId="ADAL" clId="{1D0D03E3-3226-4873-A599-0FE1608CAE58}" dt="2024-09-12T14:49:19.140" v="4216" actId="20577"/>
          <ac:spMkLst>
            <pc:docMk/>
            <pc:sldMk cId="434036002" sldId="4066"/>
            <ac:spMk id="8" creationId="{AB66817C-548C-4392-94D6-ED2B18A95EA8}"/>
          </ac:spMkLst>
        </pc:spChg>
        <pc:spChg chg="add del mod">
          <ac:chgData name="Hafiz Muhammad Salman" userId="47f5b1ff-37b9-4dd0-a37a-3bc5aec52fa1" providerId="ADAL" clId="{1D0D03E3-3226-4873-A599-0FE1608CAE58}" dt="2024-09-12T14:48:05.133" v="4203" actId="1037"/>
          <ac:spMkLst>
            <pc:docMk/>
            <pc:sldMk cId="434036002" sldId="4066"/>
            <ac:spMk id="9" creationId="{62C0552F-D0EA-F340-A5E3-1E1B23BDFD13}"/>
          </ac:spMkLst>
        </pc:spChg>
        <pc:spChg chg="mod">
          <ac:chgData name="Hafiz Muhammad Salman" userId="47f5b1ff-37b9-4dd0-a37a-3bc5aec52fa1" providerId="ADAL" clId="{1D0D03E3-3226-4873-A599-0FE1608CAE58}" dt="2024-09-12T14:48:05.133" v="4203" actId="1037"/>
          <ac:spMkLst>
            <pc:docMk/>
            <pc:sldMk cId="434036002" sldId="4066"/>
            <ac:spMk id="10" creationId="{06C4BB33-18F5-D14F-9E0A-D78AD10A810D}"/>
          </ac:spMkLst>
        </pc:spChg>
        <pc:spChg chg="mod">
          <ac:chgData name="Hafiz Muhammad Salman" userId="47f5b1ff-37b9-4dd0-a37a-3bc5aec52fa1" providerId="ADAL" clId="{1D0D03E3-3226-4873-A599-0FE1608CAE58}" dt="2024-09-12T14:48:05.133" v="4203" actId="1037"/>
          <ac:spMkLst>
            <pc:docMk/>
            <pc:sldMk cId="434036002" sldId="4066"/>
            <ac:spMk id="11" creationId="{9CCFED12-2297-7445-8666-39EB6704EDD9}"/>
          </ac:spMkLst>
        </pc:spChg>
        <pc:spChg chg="mod">
          <ac:chgData name="Hafiz Muhammad Salman" userId="47f5b1ff-37b9-4dd0-a37a-3bc5aec52fa1" providerId="ADAL" clId="{1D0D03E3-3226-4873-A599-0FE1608CAE58}" dt="2024-09-11T14:02:44.204" v="2699" actId="1035"/>
          <ac:spMkLst>
            <pc:docMk/>
            <pc:sldMk cId="434036002" sldId="4066"/>
            <ac:spMk id="12" creationId="{74092E67-EDFE-A949-9D8E-3E120C9C449A}"/>
          </ac:spMkLst>
        </pc:spChg>
        <pc:spChg chg="add del mod">
          <ac:chgData name="Hafiz Muhammad Salman" userId="47f5b1ff-37b9-4dd0-a37a-3bc5aec52fa1" providerId="ADAL" clId="{1D0D03E3-3226-4873-A599-0FE1608CAE58}" dt="2024-09-18T10:45:15.546" v="5070"/>
          <ac:spMkLst>
            <pc:docMk/>
            <pc:sldMk cId="434036002" sldId="4066"/>
            <ac:spMk id="13" creationId="{E2DBF5B5-44E4-9C4A-B7A8-62C196A8945A}"/>
          </ac:spMkLst>
        </pc:spChg>
        <pc:spChg chg="add del mod">
          <ac:chgData name="Hafiz Muhammad Salman" userId="47f5b1ff-37b9-4dd0-a37a-3bc5aec52fa1" providerId="ADAL" clId="{1D0D03E3-3226-4873-A599-0FE1608CAE58}" dt="2024-09-18T10:51:19.033" v="5073" actId="20577"/>
          <ac:spMkLst>
            <pc:docMk/>
            <pc:sldMk cId="434036002" sldId="4066"/>
            <ac:spMk id="14" creationId="{DD98026F-A297-F548-AAB9-B3799AC1DCFD}"/>
          </ac:spMkLst>
        </pc:spChg>
        <pc:spChg chg="mod">
          <ac:chgData name="Hafiz Muhammad Salman" userId="47f5b1ff-37b9-4dd0-a37a-3bc5aec52fa1" providerId="ADAL" clId="{1D0D03E3-3226-4873-A599-0FE1608CAE58}" dt="2024-09-18T08:20:11.519" v="5068" actId="20577"/>
          <ac:spMkLst>
            <pc:docMk/>
            <pc:sldMk cId="434036002" sldId="4066"/>
            <ac:spMk id="17" creationId="{07CB5B4A-1533-8446-BCED-DC843F0597ED}"/>
          </ac:spMkLst>
        </pc:spChg>
        <pc:spChg chg="mod">
          <ac:chgData name="Hafiz Muhammad Salman" userId="47f5b1ff-37b9-4dd0-a37a-3bc5aec52fa1" providerId="ADAL" clId="{1D0D03E3-3226-4873-A599-0FE1608CAE58}" dt="2024-09-18T10:51:24.712" v="5074" actId="20577"/>
          <ac:spMkLst>
            <pc:docMk/>
            <pc:sldMk cId="434036002" sldId="4066"/>
            <ac:spMk id="18" creationId="{AE7EAAEF-AF19-AE4F-B6A7-7AD62D9091B7}"/>
          </ac:spMkLst>
        </pc:spChg>
        <pc:spChg chg="add mod">
          <ac:chgData name="Hafiz Muhammad Salman" userId="47f5b1ff-37b9-4dd0-a37a-3bc5aec52fa1" providerId="ADAL" clId="{1D0D03E3-3226-4873-A599-0FE1608CAE58}" dt="2024-09-11T15:09:13.200" v="2813" actId="571"/>
          <ac:spMkLst>
            <pc:docMk/>
            <pc:sldMk cId="434036002" sldId="4066"/>
            <ac:spMk id="19" creationId="{0B88C5D1-3741-5DD1-F0A3-E52116ACD96E}"/>
          </ac:spMkLst>
        </pc:spChg>
        <pc:spChg chg="del mod">
          <ac:chgData name="Hafiz Muhammad Salman" userId="47f5b1ff-37b9-4dd0-a37a-3bc5aec52fa1" providerId="ADAL" clId="{1D0D03E3-3226-4873-A599-0FE1608CAE58}" dt="2024-09-12T14:22:09.583" v="3988" actId="478"/>
          <ac:spMkLst>
            <pc:docMk/>
            <pc:sldMk cId="434036002" sldId="4066"/>
            <ac:spMk id="20" creationId="{D63B4EB4-8D60-FB47-B641-6CF1F3F68041}"/>
          </ac:spMkLst>
        </pc:spChg>
        <pc:spChg chg="del mod">
          <ac:chgData name="Hafiz Muhammad Salman" userId="47f5b1ff-37b9-4dd0-a37a-3bc5aec52fa1" providerId="ADAL" clId="{1D0D03E3-3226-4873-A599-0FE1608CAE58}" dt="2024-09-12T14:22:07.269" v="3987" actId="478"/>
          <ac:spMkLst>
            <pc:docMk/>
            <pc:sldMk cId="434036002" sldId="4066"/>
            <ac:spMk id="21" creationId="{94C81924-BC19-1440-911C-C673604EB7ED}"/>
          </ac:spMkLst>
        </pc:spChg>
        <pc:spChg chg="add mod">
          <ac:chgData name="Hafiz Muhammad Salman" userId="47f5b1ff-37b9-4dd0-a37a-3bc5aec52fa1" providerId="ADAL" clId="{1D0D03E3-3226-4873-A599-0FE1608CAE58}" dt="2024-09-11T15:09:13.200" v="2813" actId="571"/>
          <ac:spMkLst>
            <pc:docMk/>
            <pc:sldMk cId="434036002" sldId="4066"/>
            <ac:spMk id="22" creationId="{EC5CD96E-DD09-E751-BC20-413560C85234}"/>
          </ac:spMkLst>
        </pc:spChg>
        <pc:spChg chg="del mod">
          <ac:chgData name="Hafiz Muhammad Salman" userId="47f5b1ff-37b9-4dd0-a37a-3bc5aec52fa1" providerId="ADAL" clId="{1D0D03E3-3226-4873-A599-0FE1608CAE58}" dt="2024-09-11T11:33:34.807" v="1646"/>
          <ac:spMkLst>
            <pc:docMk/>
            <pc:sldMk cId="434036002" sldId="4066"/>
            <ac:spMk id="23" creationId="{1432D652-3D52-2049-89E0-7687840BA42B}"/>
          </ac:spMkLst>
        </pc:spChg>
        <pc:spChg chg="add del mod">
          <ac:chgData name="Hafiz Muhammad Salman" userId="47f5b1ff-37b9-4dd0-a37a-3bc5aec52fa1" providerId="ADAL" clId="{1D0D03E3-3226-4873-A599-0FE1608CAE58}" dt="2024-09-11T11:33:38.629" v="1647" actId="478"/>
          <ac:spMkLst>
            <pc:docMk/>
            <pc:sldMk cId="434036002" sldId="4066"/>
            <ac:spMk id="24" creationId="{FDA620A9-D2AC-A44B-A400-C351BD6EA962}"/>
          </ac:spMkLst>
        </pc:spChg>
        <pc:picChg chg="add mod">
          <ac:chgData name="Hafiz Muhammad Salman" userId="47f5b1ff-37b9-4dd0-a37a-3bc5aec52fa1" providerId="ADAL" clId="{1D0D03E3-3226-4873-A599-0FE1608CAE58}" dt="2024-09-12T14:48:05.133" v="4203" actId="1037"/>
          <ac:picMkLst>
            <pc:docMk/>
            <pc:sldMk cId="434036002" sldId="4066"/>
            <ac:picMk id="6" creationId="{A3C1C424-DCF3-3A7F-1D1E-DEAEB73D240E}"/>
          </ac:picMkLst>
        </pc:picChg>
        <pc:picChg chg="add mod">
          <ac:chgData name="Hafiz Muhammad Salman" userId="47f5b1ff-37b9-4dd0-a37a-3bc5aec52fa1" providerId="ADAL" clId="{1D0D03E3-3226-4873-A599-0FE1608CAE58}" dt="2024-09-11T14:01:37.629" v="2678"/>
          <ac:picMkLst>
            <pc:docMk/>
            <pc:sldMk cId="434036002" sldId="4066"/>
            <ac:picMk id="7" creationId="{4AC6192D-66A5-003E-E1D5-66B32A6E225E}"/>
          </ac:picMkLst>
        </pc:picChg>
      </pc:sldChg>
      <pc:sldChg chg="modSp del mod">
        <pc:chgData name="Hafiz Muhammad Salman" userId="47f5b1ff-37b9-4dd0-a37a-3bc5aec52fa1" providerId="ADAL" clId="{1D0D03E3-3226-4873-A599-0FE1608CAE58}" dt="2024-09-11T13:21:32.279" v="2593" actId="47"/>
        <pc:sldMkLst>
          <pc:docMk/>
          <pc:sldMk cId="3546321235" sldId="4069"/>
        </pc:sldMkLst>
        <pc:spChg chg="mod">
          <ac:chgData name="Hafiz Muhammad Salman" userId="47f5b1ff-37b9-4dd0-a37a-3bc5aec52fa1" providerId="ADAL" clId="{1D0D03E3-3226-4873-A599-0FE1608CAE58}" dt="2024-09-11T09:30:27.355" v="1089" actId="790"/>
          <ac:spMkLst>
            <pc:docMk/>
            <pc:sldMk cId="3546321235" sldId="4069"/>
            <ac:spMk id="4" creationId="{A57789FF-6A0A-5B46-9332-2DA435776245}"/>
          </ac:spMkLst>
        </pc:spChg>
        <pc:spChg chg="mod">
          <ac:chgData name="Hafiz Muhammad Salman" userId="47f5b1ff-37b9-4dd0-a37a-3bc5aec52fa1" providerId="ADAL" clId="{1D0D03E3-3226-4873-A599-0FE1608CAE58}" dt="2024-09-11T09:30:27.370" v="1090" actId="790"/>
          <ac:spMkLst>
            <pc:docMk/>
            <pc:sldMk cId="3546321235" sldId="4069"/>
            <ac:spMk id="6" creationId="{CDE2130A-2571-494D-8A8D-61E06F77B3CC}"/>
          </ac:spMkLst>
        </pc:spChg>
        <pc:spChg chg="mod">
          <ac:chgData name="Hafiz Muhammad Salman" userId="47f5b1ff-37b9-4dd0-a37a-3bc5aec52fa1" providerId="ADAL" clId="{1D0D03E3-3226-4873-A599-0FE1608CAE58}" dt="2024-09-11T09:30:27.370" v="1091" actId="790"/>
          <ac:spMkLst>
            <pc:docMk/>
            <pc:sldMk cId="3546321235" sldId="4069"/>
            <ac:spMk id="12" creationId="{35364CFF-4E3B-8645-988B-E471C73CAD08}"/>
          </ac:spMkLst>
        </pc:spChg>
        <pc:spChg chg="mod">
          <ac:chgData name="Hafiz Muhammad Salman" userId="47f5b1ff-37b9-4dd0-a37a-3bc5aec52fa1" providerId="ADAL" clId="{1D0D03E3-3226-4873-A599-0FE1608CAE58}" dt="2024-09-11T09:30:27.370" v="1092" actId="790"/>
          <ac:spMkLst>
            <pc:docMk/>
            <pc:sldMk cId="3546321235" sldId="4069"/>
            <ac:spMk id="13" creationId="{3B26FF53-0F64-EC4F-9523-AFF4845F6E0C}"/>
          </ac:spMkLst>
        </pc:spChg>
        <pc:spChg chg="mod">
          <ac:chgData name="Hafiz Muhammad Salman" userId="47f5b1ff-37b9-4dd0-a37a-3bc5aec52fa1" providerId="ADAL" clId="{1D0D03E3-3226-4873-A599-0FE1608CAE58}" dt="2024-09-11T11:52:10.578" v="1681" actId="14100"/>
          <ac:spMkLst>
            <pc:docMk/>
            <pc:sldMk cId="3546321235" sldId="4069"/>
            <ac:spMk id="14" creationId="{E0D6B7F3-4E79-D748-A1EF-BFE8EB4A64BE}"/>
          </ac:spMkLst>
        </pc:spChg>
        <pc:spChg chg="mod">
          <ac:chgData name="Hafiz Muhammad Salman" userId="47f5b1ff-37b9-4dd0-a37a-3bc5aec52fa1" providerId="ADAL" clId="{1D0D03E3-3226-4873-A599-0FE1608CAE58}" dt="2024-09-11T09:30:27.370" v="1094" actId="790"/>
          <ac:spMkLst>
            <pc:docMk/>
            <pc:sldMk cId="3546321235" sldId="4069"/>
            <ac:spMk id="15" creationId="{086679A4-7DBC-494C-8AAF-A89E95D40058}"/>
          </ac:spMkLst>
        </pc:spChg>
        <pc:spChg chg="mod">
          <ac:chgData name="Hafiz Muhammad Salman" userId="47f5b1ff-37b9-4dd0-a37a-3bc5aec52fa1" providerId="ADAL" clId="{1D0D03E3-3226-4873-A599-0FE1608CAE58}" dt="2024-09-11T09:30:27.355" v="1088" actId="790"/>
          <ac:spMkLst>
            <pc:docMk/>
            <pc:sldMk cId="3546321235" sldId="4069"/>
            <ac:spMk id="16" creationId="{7EDF62E4-E9D6-FF4D-9AEC-B5A902B9C977}"/>
          </ac:spMkLst>
        </pc:spChg>
        <pc:spChg chg="mod">
          <ac:chgData name="Hafiz Muhammad Salman" userId="47f5b1ff-37b9-4dd0-a37a-3bc5aec52fa1" providerId="ADAL" clId="{1D0D03E3-3226-4873-A599-0FE1608CAE58}" dt="2024-09-11T09:30:27.370" v="1095" actId="790"/>
          <ac:spMkLst>
            <pc:docMk/>
            <pc:sldMk cId="3546321235" sldId="4069"/>
            <ac:spMk id="19" creationId="{E460A0ED-108A-DB45-90F3-5D9780DBDC0D}"/>
          </ac:spMkLst>
        </pc:spChg>
        <pc:spChg chg="mod">
          <ac:chgData name="Hafiz Muhammad Salman" userId="47f5b1ff-37b9-4dd0-a37a-3bc5aec52fa1" providerId="ADAL" clId="{1D0D03E3-3226-4873-A599-0FE1608CAE58}" dt="2024-09-11T09:30:27.370" v="1096" actId="790"/>
          <ac:spMkLst>
            <pc:docMk/>
            <pc:sldMk cId="3546321235" sldId="4069"/>
            <ac:spMk id="20" creationId="{DE7D208C-F2CE-DB45-B27B-6C010882EBB5}"/>
          </ac:spMkLst>
        </pc:spChg>
        <pc:spChg chg="mod">
          <ac:chgData name="Hafiz Muhammad Salman" userId="47f5b1ff-37b9-4dd0-a37a-3bc5aec52fa1" providerId="ADAL" clId="{1D0D03E3-3226-4873-A599-0FE1608CAE58}" dt="2024-09-11T09:30:27.370" v="1097" actId="790"/>
          <ac:spMkLst>
            <pc:docMk/>
            <pc:sldMk cId="3546321235" sldId="4069"/>
            <ac:spMk id="21" creationId="{EFF047F2-C24D-6F4B-8C0B-2B4AA0BC2D27}"/>
          </ac:spMkLst>
        </pc:spChg>
        <pc:spChg chg="mod">
          <ac:chgData name="Hafiz Muhammad Salman" userId="47f5b1ff-37b9-4dd0-a37a-3bc5aec52fa1" providerId="ADAL" clId="{1D0D03E3-3226-4873-A599-0FE1608CAE58}" dt="2024-09-11T09:30:27.370" v="1098" actId="790"/>
          <ac:spMkLst>
            <pc:docMk/>
            <pc:sldMk cId="3546321235" sldId="4069"/>
            <ac:spMk id="22" creationId="{1F680BF0-0A5B-BC44-8C13-938CF4BF7A27}"/>
          </ac:spMkLst>
        </pc:spChg>
        <pc:spChg chg="mod">
          <ac:chgData name="Hafiz Muhammad Salman" userId="47f5b1ff-37b9-4dd0-a37a-3bc5aec52fa1" providerId="ADAL" clId="{1D0D03E3-3226-4873-A599-0FE1608CAE58}" dt="2024-09-11T09:30:27.370" v="1099" actId="790"/>
          <ac:spMkLst>
            <pc:docMk/>
            <pc:sldMk cId="3546321235" sldId="4069"/>
            <ac:spMk id="23" creationId="{6D8C25FE-1B97-454F-9F5B-0C6DDBF6D45C}"/>
          </ac:spMkLst>
        </pc:spChg>
        <pc:spChg chg="mod">
          <ac:chgData name="Hafiz Muhammad Salman" userId="47f5b1ff-37b9-4dd0-a37a-3bc5aec52fa1" providerId="ADAL" clId="{1D0D03E3-3226-4873-A599-0FE1608CAE58}" dt="2024-09-11T09:30:27.370" v="1100" actId="790"/>
          <ac:spMkLst>
            <pc:docMk/>
            <pc:sldMk cId="3546321235" sldId="4069"/>
            <ac:spMk id="24" creationId="{B14BDED5-18EA-C744-AB99-3F83A90BCA6E}"/>
          </ac:spMkLst>
        </pc:spChg>
        <pc:spChg chg="mod">
          <ac:chgData name="Hafiz Muhammad Salman" userId="47f5b1ff-37b9-4dd0-a37a-3bc5aec52fa1" providerId="ADAL" clId="{1D0D03E3-3226-4873-A599-0FE1608CAE58}" dt="2024-09-11T09:30:27.370" v="1101" actId="790"/>
          <ac:spMkLst>
            <pc:docMk/>
            <pc:sldMk cId="3546321235" sldId="4069"/>
            <ac:spMk id="25" creationId="{DD2333D1-3B0A-5748-A1A9-E2A9348B55B9}"/>
          </ac:spMkLst>
        </pc:spChg>
        <pc:spChg chg="mod">
          <ac:chgData name="Hafiz Muhammad Salman" userId="47f5b1ff-37b9-4dd0-a37a-3bc5aec52fa1" providerId="ADAL" clId="{1D0D03E3-3226-4873-A599-0FE1608CAE58}" dt="2024-09-11T09:30:27.370" v="1102" actId="790"/>
          <ac:spMkLst>
            <pc:docMk/>
            <pc:sldMk cId="3546321235" sldId="4069"/>
            <ac:spMk id="28" creationId="{635AC008-13BD-1F49-BCB6-ABB978AF0F2E}"/>
          </ac:spMkLst>
        </pc:spChg>
        <pc:spChg chg="mod">
          <ac:chgData name="Hafiz Muhammad Salman" userId="47f5b1ff-37b9-4dd0-a37a-3bc5aec52fa1" providerId="ADAL" clId="{1D0D03E3-3226-4873-A599-0FE1608CAE58}" dt="2024-09-11T09:30:27.370" v="1103" actId="790"/>
          <ac:spMkLst>
            <pc:docMk/>
            <pc:sldMk cId="3546321235" sldId="4069"/>
            <ac:spMk id="29" creationId="{3091EB9A-8765-4540-A392-54351CB82BE1}"/>
          </ac:spMkLst>
        </pc:spChg>
        <pc:spChg chg="mod">
          <ac:chgData name="Hafiz Muhammad Salman" userId="47f5b1ff-37b9-4dd0-a37a-3bc5aec52fa1" providerId="ADAL" clId="{1D0D03E3-3226-4873-A599-0FE1608CAE58}" dt="2024-09-11T09:30:27.386" v="1104" actId="790"/>
          <ac:spMkLst>
            <pc:docMk/>
            <pc:sldMk cId="3546321235" sldId="4069"/>
            <ac:spMk id="31" creationId="{3E3BA223-D144-0B41-8014-0886D624D3E3}"/>
          </ac:spMkLst>
        </pc:spChg>
        <pc:spChg chg="mod">
          <ac:chgData name="Hafiz Muhammad Salman" userId="47f5b1ff-37b9-4dd0-a37a-3bc5aec52fa1" providerId="ADAL" clId="{1D0D03E3-3226-4873-A599-0FE1608CAE58}" dt="2024-09-11T09:30:27.388" v="1105" actId="790"/>
          <ac:spMkLst>
            <pc:docMk/>
            <pc:sldMk cId="3546321235" sldId="4069"/>
            <ac:spMk id="32" creationId="{C3DDEE5A-BAEE-B248-BE98-1C912AEA2122}"/>
          </ac:spMkLst>
        </pc:spChg>
        <pc:spChg chg="mod">
          <ac:chgData name="Hafiz Muhammad Salman" userId="47f5b1ff-37b9-4dd0-a37a-3bc5aec52fa1" providerId="ADAL" clId="{1D0D03E3-3226-4873-A599-0FE1608CAE58}" dt="2024-09-11T09:30:27.389" v="1106" actId="790"/>
          <ac:spMkLst>
            <pc:docMk/>
            <pc:sldMk cId="3546321235" sldId="4069"/>
            <ac:spMk id="35" creationId="{D65C7090-82A6-D848-8324-187C930CDE34}"/>
          </ac:spMkLst>
        </pc:spChg>
        <pc:spChg chg="mod">
          <ac:chgData name="Hafiz Muhammad Salman" userId="47f5b1ff-37b9-4dd0-a37a-3bc5aec52fa1" providerId="ADAL" clId="{1D0D03E3-3226-4873-A599-0FE1608CAE58}" dt="2024-09-11T11:52:00.200" v="1679"/>
          <ac:spMkLst>
            <pc:docMk/>
            <pc:sldMk cId="3546321235" sldId="4069"/>
            <ac:spMk id="36" creationId="{2D2FFCC7-8F54-5F41-8D36-C2531A1E4E48}"/>
          </ac:spMkLst>
        </pc:spChg>
        <pc:spChg chg="mod">
          <ac:chgData name="Hafiz Muhammad Salman" userId="47f5b1ff-37b9-4dd0-a37a-3bc5aec52fa1" providerId="ADAL" clId="{1D0D03E3-3226-4873-A599-0FE1608CAE58}" dt="2024-09-11T09:30:27.389" v="1108" actId="790"/>
          <ac:spMkLst>
            <pc:docMk/>
            <pc:sldMk cId="3546321235" sldId="4069"/>
            <ac:spMk id="38" creationId="{820A8C4D-FBB4-FA45-8666-56345D5B8470}"/>
          </ac:spMkLst>
        </pc:spChg>
        <pc:spChg chg="mod">
          <ac:chgData name="Hafiz Muhammad Salman" userId="47f5b1ff-37b9-4dd0-a37a-3bc5aec52fa1" providerId="ADAL" clId="{1D0D03E3-3226-4873-A599-0FE1608CAE58}" dt="2024-09-11T09:30:27.389" v="1109" actId="790"/>
          <ac:spMkLst>
            <pc:docMk/>
            <pc:sldMk cId="3546321235" sldId="4069"/>
            <ac:spMk id="39" creationId="{2C384879-41FB-9E40-B766-F156C2DC1B6A}"/>
          </ac:spMkLst>
        </pc:spChg>
        <pc:spChg chg="mod">
          <ac:chgData name="Hafiz Muhammad Salman" userId="47f5b1ff-37b9-4dd0-a37a-3bc5aec52fa1" providerId="ADAL" clId="{1D0D03E3-3226-4873-A599-0FE1608CAE58}" dt="2024-09-11T09:30:27.389" v="1110" actId="790"/>
          <ac:spMkLst>
            <pc:docMk/>
            <pc:sldMk cId="3546321235" sldId="4069"/>
            <ac:spMk id="40" creationId="{3A67BEB4-FD1A-BC41-9A21-D89B6FAF9BE8}"/>
          </ac:spMkLst>
        </pc:spChg>
        <pc:spChg chg="mod">
          <ac:chgData name="Hafiz Muhammad Salman" userId="47f5b1ff-37b9-4dd0-a37a-3bc5aec52fa1" providerId="ADAL" clId="{1D0D03E3-3226-4873-A599-0FE1608CAE58}" dt="2024-09-11T09:30:27.389" v="1111" actId="790"/>
          <ac:spMkLst>
            <pc:docMk/>
            <pc:sldMk cId="3546321235" sldId="4069"/>
            <ac:spMk id="41" creationId="{50FAAD48-DAA0-CF42-926E-15950A5DEBDF}"/>
          </ac:spMkLst>
        </pc:spChg>
        <pc:spChg chg="mod">
          <ac:chgData name="Hafiz Muhammad Salman" userId="47f5b1ff-37b9-4dd0-a37a-3bc5aec52fa1" providerId="ADAL" clId="{1D0D03E3-3226-4873-A599-0FE1608CAE58}" dt="2024-09-11T09:30:27.389" v="1112" actId="790"/>
          <ac:spMkLst>
            <pc:docMk/>
            <pc:sldMk cId="3546321235" sldId="4069"/>
            <ac:spMk id="42" creationId="{018BA886-3176-D343-8BA8-043491340D64}"/>
          </ac:spMkLst>
        </pc:spChg>
        <pc:spChg chg="mod">
          <ac:chgData name="Hafiz Muhammad Salman" userId="47f5b1ff-37b9-4dd0-a37a-3bc5aec52fa1" providerId="ADAL" clId="{1D0D03E3-3226-4873-A599-0FE1608CAE58}" dt="2024-09-11T09:30:27.389" v="1113" actId="790"/>
          <ac:spMkLst>
            <pc:docMk/>
            <pc:sldMk cId="3546321235" sldId="4069"/>
            <ac:spMk id="43" creationId="{B4B427F5-E51A-7F4A-8A54-390EAA594AA3}"/>
          </ac:spMkLst>
        </pc:spChg>
        <pc:spChg chg="mod">
          <ac:chgData name="Hafiz Muhammad Salman" userId="47f5b1ff-37b9-4dd0-a37a-3bc5aec52fa1" providerId="ADAL" clId="{1D0D03E3-3226-4873-A599-0FE1608CAE58}" dt="2024-09-11T09:30:27.389" v="1114" actId="790"/>
          <ac:spMkLst>
            <pc:docMk/>
            <pc:sldMk cId="3546321235" sldId="4069"/>
            <ac:spMk id="44" creationId="{1E172AC2-E4B5-9249-9AFD-856E798872D1}"/>
          </ac:spMkLst>
        </pc:spChg>
      </pc:sldChg>
      <pc:sldChg chg="modSp del mod">
        <pc:chgData name="Hafiz Muhammad Salman" userId="47f5b1ff-37b9-4dd0-a37a-3bc5aec52fa1" providerId="ADAL" clId="{1D0D03E3-3226-4873-A599-0FE1608CAE58}" dt="2024-09-12T14:48:21.290" v="4205" actId="47"/>
        <pc:sldMkLst>
          <pc:docMk/>
          <pc:sldMk cId="1095643846" sldId="4071"/>
        </pc:sldMkLst>
        <pc:spChg chg="mod">
          <ac:chgData name="Hafiz Muhammad Salman" userId="47f5b1ff-37b9-4dd0-a37a-3bc5aec52fa1" providerId="ADAL" clId="{1D0D03E3-3226-4873-A599-0FE1608CAE58}" dt="2024-09-12T14:37:06.924" v="4048" actId="790"/>
          <ac:spMkLst>
            <pc:docMk/>
            <pc:sldMk cId="1095643846" sldId="4071"/>
            <ac:spMk id="2" creationId="{709B3B87-C6FA-CB43-BB28-7D312A665E83}"/>
          </ac:spMkLst>
        </pc:spChg>
        <pc:spChg chg="mod">
          <ac:chgData name="Hafiz Muhammad Salman" userId="47f5b1ff-37b9-4dd0-a37a-3bc5aec52fa1" providerId="ADAL" clId="{1D0D03E3-3226-4873-A599-0FE1608CAE58}" dt="2024-09-12T14:37:06.925" v="4049" actId="790"/>
          <ac:spMkLst>
            <pc:docMk/>
            <pc:sldMk cId="1095643846" sldId="4071"/>
            <ac:spMk id="3" creationId="{89A587FF-AC6E-3141-96E3-EE8EE62969EF}"/>
          </ac:spMkLst>
        </pc:spChg>
        <pc:spChg chg="mod">
          <ac:chgData name="Hafiz Muhammad Salman" userId="47f5b1ff-37b9-4dd0-a37a-3bc5aec52fa1" providerId="ADAL" clId="{1D0D03E3-3226-4873-A599-0FE1608CAE58}" dt="2024-09-12T14:37:06.926" v="4050" actId="790"/>
          <ac:spMkLst>
            <pc:docMk/>
            <pc:sldMk cId="1095643846" sldId="4071"/>
            <ac:spMk id="4" creationId="{D7970082-332A-4344-AD8D-D6A73999D19A}"/>
          </ac:spMkLst>
        </pc:spChg>
        <pc:spChg chg="mod">
          <ac:chgData name="Hafiz Muhammad Salman" userId="47f5b1ff-37b9-4dd0-a37a-3bc5aec52fa1" providerId="ADAL" clId="{1D0D03E3-3226-4873-A599-0FE1608CAE58}" dt="2024-09-12T14:37:06.927" v="4051" actId="790"/>
          <ac:spMkLst>
            <pc:docMk/>
            <pc:sldMk cId="1095643846" sldId="4071"/>
            <ac:spMk id="5" creationId="{C2E0DDDD-6B59-2E42-A2F8-688341704A8B}"/>
          </ac:spMkLst>
        </pc:spChg>
        <pc:spChg chg="mod">
          <ac:chgData name="Hafiz Muhammad Salman" userId="47f5b1ff-37b9-4dd0-a37a-3bc5aec52fa1" providerId="ADAL" clId="{1D0D03E3-3226-4873-A599-0FE1608CAE58}" dt="2024-09-12T14:37:06.929" v="4052" actId="790"/>
          <ac:spMkLst>
            <pc:docMk/>
            <pc:sldMk cId="1095643846" sldId="4071"/>
            <ac:spMk id="16" creationId="{CFEB8EA7-0B73-EE4B-832C-A6FC74AE42D2}"/>
          </ac:spMkLst>
        </pc:spChg>
        <pc:spChg chg="mod">
          <ac:chgData name="Hafiz Muhammad Salman" userId="47f5b1ff-37b9-4dd0-a37a-3bc5aec52fa1" providerId="ADAL" clId="{1D0D03E3-3226-4873-A599-0FE1608CAE58}" dt="2024-09-12T14:37:06.930" v="4053" actId="790"/>
          <ac:spMkLst>
            <pc:docMk/>
            <pc:sldMk cId="1095643846" sldId="4071"/>
            <ac:spMk id="17" creationId="{7D172E26-266D-A543-BB9D-E292E19E0D83}"/>
          </ac:spMkLst>
        </pc:spChg>
        <pc:spChg chg="mod">
          <ac:chgData name="Hafiz Muhammad Salman" userId="47f5b1ff-37b9-4dd0-a37a-3bc5aec52fa1" providerId="ADAL" clId="{1D0D03E3-3226-4873-A599-0FE1608CAE58}" dt="2024-09-12T14:37:06.931" v="4054" actId="790"/>
          <ac:spMkLst>
            <pc:docMk/>
            <pc:sldMk cId="1095643846" sldId="4071"/>
            <ac:spMk id="20" creationId="{3014C135-75ED-A843-B23A-373D172AF142}"/>
          </ac:spMkLst>
        </pc:spChg>
        <pc:spChg chg="mod">
          <ac:chgData name="Hafiz Muhammad Salman" userId="47f5b1ff-37b9-4dd0-a37a-3bc5aec52fa1" providerId="ADAL" clId="{1D0D03E3-3226-4873-A599-0FE1608CAE58}" dt="2024-09-12T14:37:06.932" v="4055" actId="790"/>
          <ac:spMkLst>
            <pc:docMk/>
            <pc:sldMk cId="1095643846" sldId="4071"/>
            <ac:spMk id="21" creationId="{898B7F02-8C50-5F47-A0C3-277C4A581D9A}"/>
          </ac:spMkLst>
        </pc:spChg>
        <pc:spChg chg="mod">
          <ac:chgData name="Hafiz Muhammad Salman" userId="47f5b1ff-37b9-4dd0-a37a-3bc5aec52fa1" providerId="ADAL" clId="{1D0D03E3-3226-4873-A599-0FE1608CAE58}" dt="2024-09-12T14:37:06.934" v="4056" actId="790"/>
          <ac:spMkLst>
            <pc:docMk/>
            <pc:sldMk cId="1095643846" sldId="4071"/>
            <ac:spMk id="23" creationId="{6787AE0A-7BB2-644C-BA45-08CE3F15423A}"/>
          </ac:spMkLst>
        </pc:spChg>
        <pc:spChg chg="mod">
          <ac:chgData name="Hafiz Muhammad Salman" userId="47f5b1ff-37b9-4dd0-a37a-3bc5aec52fa1" providerId="ADAL" clId="{1D0D03E3-3226-4873-A599-0FE1608CAE58}" dt="2024-09-12T14:37:06.935" v="4057" actId="790"/>
          <ac:spMkLst>
            <pc:docMk/>
            <pc:sldMk cId="1095643846" sldId="4071"/>
            <ac:spMk id="24" creationId="{3DBE2785-60D5-4E4E-87AC-041BA996317F}"/>
          </ac:spMkLst>
        </pc:spChg>
        <pc:spChg chg="mod">
          <ac:chgData name="Hafiz Muhammad Salman" userId="47f5b1ff-37b9-4dd0-a37a-3bc5aec52fa1" providerId="ADAL" clId="{1D0D03E3-3226-4873-A599-0FE1608CAE58}" dt="2024-09-12T14:37:06.937" v="4058" actId="790"/>
          <ac:spMkLst>
            <pc:docMk/>
            <pc:sldMk cId="1095643846" sldId="4071"/>
            <ac:spMk id="26" creationId="{0CFFBE6B-B015-A04D-BEB4-A18715F069C0}"/>
          </ac:spMkLst>
        </pc:spChg>
        <pc:spChg chg="mod">
          <ac:chgData name="Hafiz Muhammad Salman" userId="47f5b1ff-37b9-4dd0-a37a-3bc5aec52fa1" providerId="ADAL" clId="{1D0D03E3-3226-4873-A599-0FE1608CAE58}" dt="2024-09-12T14:37:06.938" v="4059" actId="790"/>
          <ac:spMkLst>
            <pc:docMk/>
            <pc:sldMk cId="1095643846" sldId="4071"/>
            <ac:spMk id="27" creationId="{F7AC53AD-6FA1-EF43-88DE-F3FB90339876}"/>
          </ac:spMkLst>
        </pc:spChg>
        <pc:spChg chg="mod">
          <ac:chgData name="Hafiz Muhammad Salman" userId="47f5b1ff-37b9-4dd0-a37a-3bc5aec52fa1" providerId="ADAL" clId="{1D0D03E3-3226-4873-A599-0FE1608CAE58}" dt="2024-09-12T14:37:06.939" v="4060" actId="790"/>
          <ac:spMkLst>
            <pc:docMk/>
            <pc:sldMk cId="1095643846" sldId="4071"/>
            <ac:spMk id="28" creationId="{7CE41A41-F3C7-B64E-9573-4B35EB693F9A}"/>
          </ac:spMkLst>
        </pc:spChg>
        <pc:spChg chg="mod">
          <ac:chgData name="Hafiz Muhammad Salman" userId="47f5b1ff-37b9-4dd0-a37a-3bc5aec52fa1" providerId="ADAL" clId="{1D0D03E3-3226-4873-A599-0FE1608CAE58}" dt="2024-09-12T14:37:06.940" v="4061" actId="790"/>
          <ac:spMkLst>
            <pc:docMk/>
            <pc:sldMk cId="1095643846" sldId="4071"/>
            <ac:spMk id="29" creationId="{BFAF82CE-B5BB-034E-98A2-B6BAC37E0D00}"/>
          </ac:spMkLst>
        </pc:spChg>
        <pc:spChg chg="mod">
          <ac:chgData name="Hafiz Muhammad Salman" userId="47f5b1ff-37b9-4dd0-a37a-3bc5aec52fa1" providerId="ADAL" clId="{1D0D03E3-3226-4873-A599-0FE1608CAE58}" dt="2024-09-12T14:37:06.941" v="4062" actId="790"/>
          <ac:spMkLst>
            <pc:docMk/>
            <pc:sldMk cId="1095643846" sldId="4071"/>
            <ac:spMk id="30" creationId="{DF18E2FE-DE83-1649-868B-A04A760337E2}"/>
          </ac:spMkLst>
        </pc:spChg>
        <pc:spChg chg="mod">
          <ac:chgData name="Hafiz Muhammad Salman" userId="47f5b1ff-37b9-4dd0-a37a-3bc5aec52fa1" providerId="ADAL" clId="{1D0D03E3-3226-4873-A599-0FE1608CAE58}" dt="2024-09-12T14:37:06.942" v="4063" actId="790"/>
          <ac:spMkLst>
            <pc:docMk/>
            <pc:sldMk cId="1095643846" sldId="4071"/>
            <ac:spMk id="31" creationId="{C03CA031-824F-FF41-B846-1D59481C83F4}"/>
          </ac:spMkLst>
        </pc:spChg>
      </pc:sldChg>
      <pc:sldChg chg="modSp del mod">
        <pc:chgData name="Hafiz Muhammad Salman" userId="47f5b1ff-37b9-4dd0-a37a-3bc5aec52fa1" providerId="ADAL" clId="{1D0D03E3-3226-4873-A599-0FE1608CAE58}" dt="2024-09-11T13:21:39.246" v="2595" actId="47"/>
        <pc:sldMkLst>
          <pc:docMk/>
          <pc:sldMk cId="3414846470" sldId="4073"/>
        </pc:sldMkLst>
        <pc:spChg chg="mod">
          <ac:chgData name="Hafiz Muhammad Salman" userId="47f5b1ff-37b9-4dd0-a37a-3bc5aec52fa1" providerId="ADAL" clId="{1D0D03E3-3226-4873-A599-0FE1608CAE58}" dt="2024-09-11T09:30:26.632" v="1053" actId="790"/>
          <ac:spMkLst>
            <pc:docMk/>
            <pc:sldMk cId="3414846470" sldId="4073"/>
            <ac:spMk id="7" creationId="{76F76FE7-4629-D746-BE73-24DA0D86150D}"/>
          </ac:spMkLst>
        </pc:spChg>
        <pc:spChg chg="mod">
          <ac:chgData name="Hafiz Muhammad Salman" userId="47f5b1ff-37b9-4dd0-a37a-3bc5aec52fa1" providerId="ADAL" clId="{1D0D03E3-3226-4873-A599-0FE1608CAE58}" dt="2024-09-11T09:30:26.632" v="1054" actId="790"/>
          <ac:spMkLst>
            <pc:docMk/>
            <pc:sldMk cId="3414846470" sldId="4073"/>
            <ac:spMk id="8" creationId="{DED7E158-29E8-CE41-8B3C-82965AAC2373}"/>
          </ac:spMkLst>
        </pc:spChg>
        <pc:spChg chg="mod">
          <ac:chgData name="Hafiz Muhammad Salman" userId="47f5b1ff-37b9-4dd0-a37a-3bc5aec52fa1" providerId="ADAL" clId="{1D0D03E3-3226-4873-A599-0FE1608CAE58}" dt="2024-09-11T09:30:26.632" v="1056" actId="790"/>
          <ac:spMkLst>
            <pc:docMk/>
            <pc:sldMk cId="3414846470" sldId="4073"/>
            <ac:spMk id="22" creationId="{E9C48C5F-A1D3-AF4D-9C98-556523F6FEF2}"/>
          </ac:spMkLst>
        </pc:spChg>
        <pc:spChg chg="mod">
          <ac:chgData name="Hafiz Muhammad Salman" userId="47f5b1ff-37b9-4dd0-a37a-3bc5aec52fa1" providerId="ADAL" clId="{1D0D03E3-3226-4873-A599-0FE1608CAE58}" dt="2024-09-11T09:30:26.650" v="1060" actId="790"/>
          <ac:spMkLst>
            <pc:docMk/>
            <pc:sldMk cId="3414846470" sldId="4073"/>
            <ac:spMk id="23" creationId="{3C9F0BE0-7B22-1847-9CD0-A55B047827F8}"/>
          </ac:spMkLst>
        </pc:spChg>
        <pc:spChg chg="mod">
          <ac:chgData name="Hafiz Muhammad Salman" userId="47f5b1ff-37b9-4dd0-a37a-3bc5aec52fa1" providerId="ADAL" clId="{1D0D03E3-3226-4873-A599-0FE1608CAE58}" dt="2024-09-11T09:30:26.655" v="1064" actId="790"/>
          <ac:spMkLst>
            <pc:docMk/>
            <pc:sldMk cId="3414846470" sldId="4073"/>
            <ac:spMk id="24" creationId="{27DDC8FE-2786-E94B-B072-98E92449A12A}"/>
          </ac:spMkLst>
        </pc:spChg>
        <pc:spChg chg="mod">
          <ac:chgData name="Hafiz Muhammad Salman" userId="47f5b1ff-37b9-4dd0-a37a-3bc5aec52fa1" providerId="ADAL" clId="{1D0D03E3-3226-4873-A599-0FE1608CAE58}" dt="2024-09-11T09:30:26.632" v="1055" actId="790"/>
          <ac:spMkLst>
            <pc:docMk/>
            <pc:sldMk cId="3414846470" sldId="4073"/>
            <ac:spMk id="27" creationId="{B4E48D49-7713-A447-9B37-1A6F4AC468D8}"/>
          </ac:spMkLst>
        </pc:spChg>
        <pc:spChg chg="mod">
          <ac:chgData name="Hafiz Muhammad Salman" userId="47f5b1ff-37b9-4dd0-a37a-3bc5aec52fa1" providerId="ADAL" clId="{1D0D03E3-3226-4873-A599-0FE1608CAE58}" dt="2024-09-11T09:30:26.655" v="1068" actId="790"/>
          <ac:spMkLst>
            <pc:docMk/>
            <pc:sldMk cId="3414846470" sldId="4073"/>
            <ac:spMk id="28" creationId="{F27C32CF-EF99-B541-AA42-F88C0D93ED41}"/>
          </ac:spMkLst>
        </pc:spChg>
        <pc:spChg chg="mod">
          <ac:chgData name="Hafiz Muhammad Salman" userId="47f5b1ff-37b9-4dd0-a37a-3bc5aec52fa1" providerId="ADAL" clId="{1D0D03E3-3226-4873-A599-0FE1608CAE58}" dt="2024-09-11T09:30:26.632" v="1057" actId="790"/>
          <ac:spMkLst>
            <pc:docMk/>
            <pc:sldMk cId="3414846470" sldId="4073"/>
            <ac:spMk id="32" creationId="{E2F8D954-7C0A-5247-90EB-FA6B0B7AED52}"/>
          </ac:spMkLst>
        </pc:spChg>
        <pc:spChg chg="mod">
          <ac:chgData name="Hafiz Muhammad Salman" userId="47f5b1ff-37b9-4dd0-a37a-3bc5aec52fa1" providerId="ADAL" clId="{1D0D03E3-3226-4873-A599-0FE1608CAE58}" dt="2024-09-11T09:30:26.649" v="1058" actId="790"/>
          <ac:spMkLst>
            <pc:docMk/>
            <pc:sldMk cId="3414846470" sldId="4073"/>
            <ac:spMk id="33" creationId="{302A63B9-AEDD-A449-8D5A-09941B96C442}"/>
          </ac:spMkLst>
        </pc:spChg>
        <pc:spChg chg="mod">
          <ac:chgData name="Hafiz Muhammad Salman" userId="47f5b1ff-37b9-4dd0-a37a-3bc5aec52fa1" providerId="ADAL" clId="{1D0D03E3-3226-4873-A599-0FE1608CAE58}" dt="2024-09-11T09:30:26.650" v="1061" actId="790"/>
          <ac:spMkLst>
            <pc:docMk/>
            <pc:sldMk cId="3414846470" sldId="4073"/>
            <ac:spMk id="36" creationId="{4E29795B-01E2-774D-9250-0153A50B6BA3}"/>
          </ac:spMkLst>
        </pc:spChg>
        <pc:spChg chg="mod">
          <ac:chgData name="Hafiz Muhammad Salman" userId="47f5b1ff-37b9-4dd0-a37a-3bc5aec52fa1" providerId="ADAL" clId="{1D0D03E3-3226-4873-A599-0FE1608CAE58}" dt="2024-09-11T09:34:29.075" v="1144"/>
          <ac:spMkLst>
            <pc:docMk/>
            <pc:sldMk cId="3414846470" sldId="4073"/>
            <ac:spMk id="37" creationId="{DAB00BC1-EDB8-F340-9936-ECAC5645B99B}"/>
          </ac:spMkLst>
        </pc:spChg>
        <pc:spChg chg="mod">
          <ac:chgData name="Hafiz Muhammad Salman" userId="47f5b1ff-37b9-4dd0-a37a-3bc5aec52fa1" providerId="ADAL" clId="{1D0D03E3-3226-4873-A599-0FE1608CAE58}" dt="2024-09-11T09:30:26.655" v="1065" actId="790"/>
          <ac:spMkLst>
            <pc:docMk/>
            <pc:sldMk cId="3414846470" sldId="4073"/>
            <ac:spMk id="39" creationId="{36ED2F0D-9E3F-9C4D-AA90-5525FA2E1EF9}"/>
          </ac:spMkLst>
        </pc:spChg>
        <pc:spChg chg="mod">
          <ac:chgData name="Hafiz Muhammad Salman" userId="47f5b1ff-37b9-4dd0-a37a-3bc5aec52fa1" providerId="ADAL" clId="{1D0D03E3-3226-4873-A599-0FE1608CAE58}" dt="2024-09-11T09:30:26.655" v="1066" actId="790"/>
          <ac:spMkLst>
            <pc:docMk/>
            <pc:sldMk cId="3414846470" sldId="4073"/>
            <ac:spMk id="40" creationId="{6AB2E198-0875-4249-BF2F-7AFF6031C357}"/>
          </ac:spMkLst>
        </pc:spChg>
        <pc:spChg chg="mod">
          <ac:chgData name="Hafiz Muhammad Salman" userId="47f5b1ff-37b9-4dd0-a37a-3bc5aec52fa1" providerId="ADAL" clId="{1D0D03E3-3226-4873-A599-0FE1608CAE58}" dt="2024-09-11T09:30:26.655" v="1069" actId="790"/>
          <ac:spMkLst>
            <pc:docMk/>
            <pc:sldMk cId="3414846470" sldId="4073"/>
            <ac:spMk id="42" creationId="{87627FBE-48B4-DB49-B7DC-8705E41D7DE4}"/>
          </ac:spMkLst>
        </pc:spChg>
        <pc:spChg chg="mod">
          <ac:chgData name="Hafiz Muhammad Salman" userId="47f5b1ff-37b9-4dd0-a37a-3bc5aec52fa1" providerId="ADAL" clId="{1D0D03E3-3226-4873-A599-0FE1608CAE58}" dt="2024-09-11T09:30:26.655" v="1070" actId="790"/>
          <ac:spMkLst>
            <pc:docMk/>
            <pc:sldMk cId="3414846470" sldId="4073"/>
            <ac:spMk id="43" creationId="{6FA8A77B-F856-D742-B30A-640188F5BF7B}"/>
          </ac:spMkLst>
        </pc:spChg>
        <pc:spChg chg="mod">
          <ac:chgData name="Hafiz Muhammad Salman" userId="47f5b1ff-37b9-4dd0-a37a-3bc5aec52fa1" providerId="ADAL" clId="{1D0D03E3-3226-4873-A599-0FE1608CAE58}" dt="2024-09-11T09:30:26.650" v="1059" actId="790"/>
          <ac:spMkLst>
            <pc:docMk/>
            <pc:sldMk cId="3414846470" sldId="4073"/>
            <ac:spMk id="44" creationId="{756301EF-8DC9-5741-A083-2956C84511C9}"/>
          </ac:spMkLst>
        </pc:spChg>
        <pc:spChg chg="mod">
          <ac:chgData name="Hafiz Muhammad Salman" userId="47f5b1ff-37b9-4dd0-a37a-3bc5aec52fa1" providerId="ADAL" clId="{1D0D03E3-3226-4873-A599-0FE1608CAE58}" dt="2024-09-11T09:30:26.650" v="1063" actId="790"/>
          <ac:spMkLst>
            <pc:docMk/>
            <pc:sldMk cId="3414846470" sldId="4073"/>
            <ac:spMk id="45" creationId="{DDE5608F-7860-2C41-A1A2-589BB4141C1C}"/>
          </ac:spMkLst>
        </pc:spChg>
        <pc:spChg chg="mod">
          <ac:chgData name="Hafiz Muhammad Salman" userId="47f5b1ff-37b9-4dd0-a37a-3bc5aec52fa1" providerId="ADAL" clId="{1D0D03E3-3226-4873-A599-0FE1608CAE58}" dt="2024-09-11T09:30:26.655" v="1067" actId="790"/>
          <ac:spMkLst>
            <pc:docMk/>
            <pc:sldMk cId="3414846470" sldId="4073"/>
            <ac:spMk id="46" creationId="{65E5520B-1954-6B40-B1F8-A6C02DDCDBE3}"/>
          </ac:spMkLst>
        </pc:spChg>
        <pc:spChg chg="mod">
          <ac:chgData name="Hafiz Muhammad Salman" userId="47f5b1ff-37b9-4dd0-a37a-3bc5aec52fa1" providerId="ADAL" clId="{1D0D03E3-3226-4873-A599-0FE1608CAE58}" dt="2024-09-11T09:30:26.655" v="1071" actId="790"/>
          <ac:spMkLst>
            <pc:docMk/>
            <pc:sldMk cId="3414846470" sldId="4073"/>
            <ac:spMk id="47" creationId="{59F449F0-9A81-4A4A-B657-BC94419570DF}"/>
          </ac:spMkLst>
        </pc:spChg>
      </pc:sldChg>
      <pc:sldChg chg="modSp del mod">
        <pc:chgData name="Hafiz Muhammad Salman" userId="47f5b1ff-37b9-4dd0-a37a-3bc5aec52fa1" providerId="ADAL" clId="{1D0D03E3-3226-4873-A599-0FE1608CAE58}" dt="2024-09-12T14:48:22.410" v="4206" actId="47"/>
        <pc:sldMkLst>
          <pc:docMk/>
          <pc:sldMk cId="3042612571" sldId="4074"/>
        </pc:sldMkLst>
        <pc:spChg chg="mod">
          <ac:chgData name="Hafiz Muhammad Salman" userId="47f5b1ff-37b9-4dd0-a37a-3bc5aec52fa1" providerId="ADAL" clId="{1D0D03E3-3226-4873-A599-0FE1608CAE58}" dt="2024-09-12T14:37:06.483" v="4039" actId="790"/>
          <ac:spMkLst>
            <pc:docMk/>
            <pc:sldMk cId="3042612571" sldId="4074"/>
            <ac:spMk id="2" creationId="{CB25A6E1-4958-2840-9F1D-A5968F0BDDCA}"/>
          </ac:spMkLst>
        </pc:spChg>
        <pc:spChg chg="mod">
          <ac:chgData name="Hafiz Muhammad Salman" userId="47f5b1ff-37b9-4dd0-a37a-3bc5aec52fa1" providerId="ADAL" clId="{1D0D03E3-3226-4873-A599-0FE1608CAE58}" dt="2024-09-12T14:37:06.493" v="4040" actId="790"/>
          <ac:spMkLst>
            <pc:docMk/>
            <pc:sldMk cId="3042612571" sldId="4074"/>
            <ac:spMk id="28" creationId="{0375DD85-FF7C-1742-8B19-1880378E5BEE}"/>
          </ac:spMkLst>
        </pc:spChg>
        <pc:spChg chg="mod">
          <ac:chgData name="Hafiz Muhammad Salman" userId="47f5b1ff-37b9-4dd0-a37a-3bc5aec52fa1" providerId="ADAL" clId="{1D0D03E3-3226-4873-A599-0FE1608CAE58}" dt="2024-09-12T14:37:06.494" v="4041" actId="790"/>
          <ac:spMkLst>
            <pc:docMk/>
            <pc:sldMk cId="3042612571" sldId="4074"/>
            <ac:spMk id="29" creationId="{CF9D4156-9C63-574D-880E-6B12A5AF8F44}"/>
          </ac:spMkLst>
        </pc:spChg>
        <pc:spChg chg="mod">
          <ac:chgData name="Hafiz Muhammad Salman" userId="47f5b1ff-37b9-4dd0-a37a-3bc5aec52fa1" providerId="ADAL" clId="{1D0D03E3-3226-4873-A599-0FE1608CAE58}" dt="2024-09-12T14:37:06.495" v="4042" actId="790"/>
          <ac:spMkLst>
            <pc:docMk/>
            <pc:sldMk cId="3042612571" sldId="4074"/>
            <ac:spMk id="32" creationId="{800E586D-21F5-844D-8439-02EBA3414250}"/>
          </ac:spMkLst>
        </pc:spChg>
        <pc:spChg chg="mod">
          <ac:chgData name="Hafiz Muhammad Salman" userId="47f5b1ff-37b9-4dd0-a37a-3bc5aec52fa1" providerId="ADAL" clId="{1D0D03E3-3226-4873-A599-0FE1608CAE58}" dt="2024-09-12T14:37:06.496" v="4043" actId="790"/>
          <ac:spMkLst>
            <pc:docMk/>
            <pc:sldMk cId="3042612571" sldId="4074"/>
            <ac:spMk id="33" creationId="{EB93F19A-8C09-3C4E-8287-4AB42A0FA7C3}"/>
          </ac:spMkLst>
        </pc:spChg>
        <pc:spChg chg="mod">
          <ac:chgData name="Hafiz Muhammad Salman" userId="47f5b1ff-37b9-4dd0-a37a-3bc5aec52fa1" providerId="ADAL" clId="{1D0D03E3-3226-4873-A599-0FE1608CAE58}" dt="2024-09-12T14:37:06.498" v="4044" actId="790"/>
          <ac:spMkLst>
            <pc:docMk/>
            <pc:sldMk cId="3042612571" sldId="4074"/>
            <ac:spMk id="35" creationId="{AFCCA66F-1902-BF49-9A8A-DB5331CAFDC0}"/>
          </ac:spMkLst>
        </pc:spChg>
        <pc:spChg chg="mod">
          <ac:chgData name="Hafiz Muhammad Salman" userId="47f5b1ff-37b9-4dd0-a37a-3bc5aec52fa1" providerId="ADAL" clId="{1D0D03E3-3226-4873-A599-0FE1608CAE58}" dt="2024-09-12T14:37:06.498" v="4045" actId="790"/>
          <ac:spMkLst>
            <pc:docMk/>
            <pc:sldMk cId="3042612571" sldId="4074"/>
            <ac:spMk id="36" creationId="{8D0A613E-B59C-BC42-826F-9D4AE0A16364}"/>
          </ac:spMkLst>
        </pc:spChg>
        <pc:spChg chg="mod">
          <ac:chgData name="Hafiz Muhammad Salman" userId="47f5b1ff-37b9-4dd0-a37a-3bc5aec52fa1" providerId="ADAL" clId="{1D0D03E3-3226-4873-A599-0FE1608CAE58}" dt="2024-09-12T14:37:06.500" v="4046" actId="790"/>
          <ac:spMkLst>
            <pc:docMk/>
            <pc:sldMk cId="3042612571" sldId="4074"/>
            <ac:spMk id="38" creationId="{7A4EB932-E007-234F-9384-6E149AAB1492}"/>
          </ac:spMkLst>
        </pc:spChg>
        <pc:spChg chg="mod">
          <ac:chgData name="Hafiz Muhammad Salman" userId="47f5b1ff-37b9-4dd0-a37a-3bc5aec52fa1" providerId="ADAL" clId="{1D0D03E3-3226-4873-A599-0FE1608CAE58}" dt="2024-09-12T14:37:06.501" v="4047" actId="790"/>
          <ac:spMkLst>
            <pc:docMk/>
            <pc:sldMk cId="3042612571" sldId="4074"/>
            <ac:spMk id="39" creationId="{A9077ADC-9BF9-4442-9ACC-CD6923C4220A}"/>
          </ac:spMkLst>
        </pc:spChg>
      </pc:sldChg>
      <pc:sldChg chg="add del">
        <pc:chgData name="Hafiz Muhammad Salman" userId="47f5b1ff-37b9-4dd0-a37a-3bc5aec52fa1" providerId="ADAL" clId="{1D0D03E3-3226-4873-A599-0FE1608CAE58}" dt="2024-09-11T13:20:05.840" v="2577" actId="47"/>
        <pc:sldMkLst>
          <pc:docMk/>
          <pc:sldMk cId="3680922859" sldId="4075"/>
        </pc:sldMkLst>
      </pc:sldChg>
      <pc:sldChg chg="del ord">
        <pc:chgData name="Hafiz Muhammad Salman" userId="47f5b1ff-37b9-4dd0-a37a-3bc5aec52fa1" providerId="ADAL" clId="{1D0D03E3-3226-4873-A599-0FE1608CAE58}" dt="2024-09-11T13:22:54.676" v="2616" actId="47"/>
        <pc:sldMkLst>
          <pc:docMk/>
          <pc:sldMk cId="2206255353" sldId="4076"/>
        </pc:sldMkLst>
      </pc:sldChg>
      <pc:sldChg chg="addSp delSp modSp mod ord">
        <pc:chgData name="Hafiz Muhammad Salman" userId="47f5b1ff-37b9-4dd0-a37a-3bc5aec52fa1" providerId="ADAL" clId="{1D0D03E3-3226-4873-A599-0FE1608CAE58}" dt="2024-09-18T14:42:43.129" v="5104" actId="1038"/>
        <pc:sldMkLst>
          <pc:docMk/>
          <pc:sldMk cId="2866745714" sldId="4080"/>
        </pc:sldMkLst>
        <pc:spChg chg="mod">
          <ac:chgData name="Hafiz Muhammad Salman" userId="47f5b1ff-37b9-4dd0-a37a-3bc5aec52fa1" providerId="ADAL" clId="{1D0D03E3-3226-4873-A599-0FE1608CAE58}" dt="2024-09-18T14:42:43.129" v="5104" actId="1038"/>
          <ac:spMkLst>
            <pc:docMk/>
            <pc:sldMk cId="2866745714" sldId="4080"/>
            <ac:spMk id="4" creationId="{FF0EE9DE-0CEA-5B41-9662-29033ED5FBDF}"/>
          </ac:spMkLst>
        </pc:spChg>
        <pc:spChg chg="mod">
          <ac:chgData name="Hafiz Muhammad Salman" userId="47f5b1ff-37b9-4dd0-a37a-3bc5aec52fa1" providerId="ADAL" clId="{1D0D03E3-3226-4873-A599-0FE1608CAE58}" dt="2024-09-18T14:42:43.129" v="5104" actId="1038"/>
          <ac:spMkLst>
            <pc:docMk/>
            <pc:sldMk cId="2866745714" sldId="4080"/>
            <ac:spMk id="5" creationId="{2A583950-B874-D540-860A-710B2AE19CE0}"/>
          </ac:spMkLst>
        </pc:spChg>
        <pc:spChg chg="add del">
          <ac:chgData name="Hafiz Muhammad Salman" userId="47f5b1ff-37b9-4dd0-a37a-3bc5aec52fa1" providerId="ADAL" clId="{1D0D03E3-3226-4873-A599-0FE1608CAE58}" dt="2024-09-18T14:42:36.223" v="5090" actId="478"/>
          <ac:spMkLst>
            <pc:docMk/>
            <pc:sldMk cId="2866745714" sldId="4080"/>
            <ac:spMk id="6" creationId="{25FBCD26-83B9-0E45-B6E6-052934A50E04}"/>
          </ac:spMkLst>
        </pc:spChg>
        <pc:spChg chg="mod">
          <ac:chgData name="Hafiz Muhammad Salman" userId="47f5b1ff-37b9-4dd0-a37a-3bc5aec52fa1" providerId="ADAL" clId="{1D0D03E3-3226-4873-A599-0FE1608CAE58}" dt="2024-09-11T12:01:32.876" v="1727" actId="20577"/>
          <ac:spMkLst>
            <pc:docMk/>
            <pc:sldMk cId="2866745714" sldId="4080"/>
            <ac:spMk id="7" creationId="{984CC95D-C1C4-4972-9A06-DD6AA9B30D83}"/>
          </ac:spMkLst>
        </pc:spChg>
        <pc:spChg chg="mod">
          <ac:chgData name="Hafiz Muhammad Salman" userId="47f5b1ff-37b9-4dd0-a37a-3bc5aec52fa1" providerId="ADAL" clId="{1D0D03E3-3226-4873-A599-0FE1608CAE58}" dt="2024-09-18T14:42:43.129" v="5104" actId="1038"/>
          <ac:spMkLst>
            <pc:docMk/>
            <pc:sldMk cId="2866745714" sldId="4080"/>
            <ac:spMk id="11" creationId="{A967C3A0-F00F-3949-8709-B9619765EE45}"/>
          </ac:spMkLst>
        </pc:spChg>
        <pc:spChg chg="mod">
          <ac:chgData name="Hafiz Muhammad Salman" userId="47f5b1ff-37b9-4dd0-a37a-3bc5aec52fa1" providerId="ADAL" clId="{1D0D03E3-3226-4873-A599-0FE1608CAE58}" dt="2024-09-18T14:42:43.129" v="5104" actId="1038"/>
          <ac:spMkLst>
            <pc:docMk/>
            <pc:sldMk cId="2866745714" sldId="4080"/>
            <ac:spMk id="12" creationId="{A868A8DA-7C6B-C74B-B537-B1EFC6B156DE}"/>
          </ac:spMkLst>
        </pc:spChg>
        <pc:spChg chg="mod">
          <ac:chgData name="Hafiz Muhammad Salman" userId="47f5b1ff-37b9-4dd0-a37a-3bc5aec52fa1" providerId="ADAL" clId="{1D0D03E3-3226-4873-A599-0FE1608CAE58}" dt="2024-09-18T14:42:43.129" v="5104" actId="1038"/>
          <ac:spMkLst>
            <pc:docMk/>
            <pc:sldMk cId="2866745714" sldId="4080"/>
            <ac:spMk id="13" creationId="{A8C49070-0BC5-4B47-91E7-3CBA76AB8D7F}"/>
          </ac:spMkLst>
        </pc:spChg>
        <pc:spChg chg="add del">
          <ac:chgData name="Hafiz Muhammad Salman" userId="47f5b1ff-37b9-4dd0-a37a-3bc5aec52fa1" providerId="ADAL" clId="{1D0D03E3-3226-4873-A599-0FE1608CAE58}" dt="2024-09-18T14:42:36.223" v="5090" actId="478"/>
          <ac:spMkLst>
            <pc:docMk/>
            <pc:sldMk cId="2866745714" sldId="4080"/>
            <ac:spMk id="14" creationId="{E9073916-1C49-3A4A-BBBE-0534867D97F0}"/>
          </ac:spMkLst>
        </pc:spChg>
        <pc:spChg chg="mod">
          <ac:chgData name="Hafiz Muhammad Salman" userId="47f5b1ff-37b9-4dd0-a37a-3bc5aec52fa1" providerId="ADAL" clId="{1D0D03E3-3226-4873-A599-0FE1608CAE58}" dt="2024-09-18T14:42:43.129" v="5104" actId="1038"/>
          <ac:spMkLst>
            <pc:docMk/>
            <pc:sldMk cId="2866745714" sldId="4080"/>
            <ac:spMk id="15" creationId="{851B56D5-E063-0643-B154-951B342068A7}"/>
          </ac:spMkLst>
        </pc:spChg>
        <pc:spChg chg="mod">
          <ac:chgData name="Hafiz Muhammad Salman" userId="47f5b1ff-37b9-4dd0-a37a-3bc5aec52fa1" providerId="ADAL" clId="{1D0D03E3-3226-4873-A599-0FE1608CAE58}" dt="2024-09-18T14:42:43.129" v="5104" actId="1038"/>
          <ac:spMkLst>
            <pc:docMk/>
            <pc:sldMk cId="2866745714" sldId="4080"/>
            <ac:spMk id="16" creationId="{88E461D6-3462-C740-A57C-49CA22A66556}"/>
          </ac:spMkLst>
        </pc:spChg>
        <pc:spChg chg="mod">
          <ac:chgData name="Hafiz Muhammad Salman" userId="47f5b1ff-37b9-4dd0-a37a-3bc5aec52fa1" providerId="ADAL" clId="{1D0D03E3-3226-4873-A599-0FE1608CAE58}" dt="2024-09-18T14:42:43.129" v="5104" actId="1038"/>
          <ac:spMkLst>
            <pc:docMk/>
            <pc:sldMk cId="2866745714" sldId="4080"/>
            <ac:spMk id="17" creationId="{5D092F4C-F4DE-8644-A7BB-78BEA302599C}"/>
          </ac:spMkLst>
        </pc:spChg>
        <pc:spChg chg="mod">
          <ac:chgData name="Hafiz Muhammad Salman" userId="47f5b1ff-37b9-4dd0-a37a-3bc5aec52fa1" providerId="ADAL" clId="{1D0D03E3-3226-4873-A599-0FE1608CAE58}" dt="2024-09-18T14:42:43.129" v="5104" actId="1038"/>
          <ac:spMkLst>
            <pc:docMk/>
            <pc:sldMk cId="2866745714" sldId="4080"/>
            <ac:spMk id="18" creationId="{3B495889-09E8-4945-9DBF-84B49F974935}"/>
          </ac:spMkLst>
        </pc:spChg>
        <pc:spChg chg="add del mod">
          <ac:chgData name="Hafiz Muhammad Salman" userId="47f5b1ff-37b9-4dd0-a37a-3bc5aec52fa1" providerId="ADAL" clId="{1D0D03E3-3226-4873-A599-0FE1608CAE58}" dt="2024-09-18T14:42:36.223" v="5090" actId="478"/>
          <ac:spMkLst>
            <pc:docMk/>
            <pc:sldMk cId="2866745714" sldId="4080"/>
            <ac:spMk id="19" creationId="{1530B78F-094F-7E45-BF4C-46C6A2FFD6AC}"/>
          </ac:spMkLst>
        </pc:spChg>
        <pc:spChg chg="mod">
          <ac:chgData name="Hafiz Muhammad Salman" userId="47f5b1ff-37b9-4dd0-a37a-3bc5aec52fa1" providerId="ADAL" clId="{1D0D03E3-3226-4873-A599-0FE1608CAE58}" dt="2024-09-18T14:42:43.129" v="5104" actId="1038"/>
          <ac:spMkLst>
            <pc:docMk/>
            <pc:sldMk cId="2866745714" sldId="4080"/>
            <ac:spMk id="24" creationId="{BAF1F472-A764-8748-9313-0B8CD5AD2DA2}"/>
          </ac:spMkLst>
        </pc:spChg>
        <pc:spChg chg="mod">
          <ac:chgData name="Hafiz Muhammad Salman" userId="47f5b1ff-37b9-4dd0-a37a-3bc5aec52fa1" providerId="ADAL" clId="{1D0D03E3-3226-4873-A599-0FE1608CAE58}" dt="2024-09-18T14:42:43.129" v="5104" actId="1038"/>
          <ac:spMkLst>
            <pc:docMk/>
            <pc:sldMk cId="2866745714" sldId="4080"/>
            <ac:spMk id="25" creationId="{231EFA60-98A2-1542-908E-78DB204AF207}"/>
          </ac:spMkLst>
        </pc:spChg>
        <pc:spChg chg="mod">
          <ac:chgData name="Hafiz Muhammad Salman" userId="47f5b1ff-37b9-4dd0-a37a-3bc5aec52fa1" providerId="ADAL" clId="{1D0D03E3-3226-4873-A599-0FE1608CAE58}" dt="2024-09-18T14:42:43.129" v="5104" actId="1038"/>
          <ac:spMkLst>
            <pc:docMk/>
            <pc:sldMk cId="2866745714" sldId="4080"/>
            <ac:spMk id="26" creationId="{97BA385A-F7C3-374C-B47E-5AC518ADC9CF}"/>
          </ac:spMkLst>
        </pc:spChg>
        <pc:spChg chg="add del mod">
          <ac:chgData name="Hafiz Muhammad Salman" userId="47f5b1ff-37b9-4dd0-a37a-3bc5aec52fa1" providerId="ADAL" clId="{1D0D03E3-3226-4873-A599-0FE1608CAE58}" dt="2024-09-18T14:42:36.223" v="5090" actId="478"/>
          <ac:spMkLst>
            <pc:docMk/>
            <pc:sldMk cId="2866745714" sldId="4080"/>
            <ac:spMk id="27" creationId="{A0E41E81-0702-0A4A-9DA4-FEB1CFA2E09B}"/>
          </ac:spMkLst>
        </pc:spChg>
        <pc:spChg chg="mod">
          <ac:chgData name="Hafiz Muhammad Salman" userId="47f5b1ff-37b9-4dd0-a37a-3bc5aec52fa1" providerId="ADAL" clId="{1D0D03E3-3226-4873-A599-0FE1608CAE58}" dt="2024-09-18T14:42:43.129" v="5104" actId="1038"/>
          <ac:spMkLst>
            <pc:docMk/>
            <pc:sldMk cId="2866745714" sldId="4080"/>
            <ac:spMk id="29" creationId="{42DC4A65-206D-3D49-BDEE-3485746460E6}"/>
          </ac:spMkLst>
        </pc:spChg>
        <pc:spChg chg="mod">
          <ac:chgData name="Hafiz Muhammad Salman" userId="47f5b1ff-37b9-4dd0-a37a-3bc5aec52fa1" providerId="ADAL" clId="{1D0D03E3-3226-4873-A599-0FE1608CAE58}" dt="2024-09-18T14:42:43.129" v="5104" actId="1038"/>
          <ac:spMkLst>
            <pc:docMk/>
            <pc:sldMk cId="2866745714" sldId="4080"/>
            <ac:spMk id="30" creationId="{C5D7CFAD-1371-DB47-AE0F-FC85117FB81C}"/>
          </ac:spMkLst>
        </pc:spChg>
        <pc:spChg chg="mod">
          <ac:chgData name="Hafiz Muhammad Salman" userId="47f5b1ff-37b9-4dd0-a37a-3bc5aec52fa1" providerId="ADAL" clId="{1D0D03E3-3226-4873-A599-0FE1608CAE58}" dt="2024-09-18T14:42:43.129" v="5104" actId="1038"/>
          <ac:spMkLst>
            <pc:docMk/>
            <pc:sldMk cId="2866745714" sldId="4080"/>
            <ac:spMk id="33" creationId="{75D78690-1AEF-7A4C-8AEB-CE2146090DA3}"/>
          </ac:spMkLst>
        </pc:spChg>
        <pc:spChg chg="mod">
          <ac:chgData name="Hafiz Muhammad Salman" userId="47f5b1ff-37b9-4dd0-a37a-3bc5aec52fa1" providerId="ADAL" clId="{1D0D03E3-3226-4873-A599-0FE1608CAE58}" dt="2024-09-18T14:42:43.129" v="5104" actId="1038"/>
          <ac:spMkLst>
            <pc:docMk/>
            <pc:sldMk cId="2866745714" sldId="4080"/>
            <ac:spMk id="34" creationId="{135FF297-A2F2-4644-AC5A-4CB1DC9074DF}"/>
          </ac:spMkLst>
        </pc:spChg>
        <pc:spChg chg="mod">
          <ac:chgData name="Hafiz Muhammad Salman" userId="47f5b1ff-37b9-4dd0-a37a-3bc5aec52fa1" providerId="ADAL" clId="{1D0D03E3-3226-4873-A599-0FE1608CAE58}" dt="2024-09-18T14:42:43.129" v="5104" actId="1038"/>
          <ac:spMkLst>
            <pc:docMk/>
            <pc:sldMk cId="2866745714" sldId="4080"/>
            <ac:spMk id="36" creationId="{469284EE-C234-2947-8EB9-CB5746302A1E}"/>
          </ac:spMkLst>
        </pc:spChg>
        <pc:spChg chg="mod">
          <ac:chgData name="Hafiz Muhammad Salman" userId="47f5b1ff-37b9-4dd0-a37a-3bc5aec52fa1" providerId="ADAL" clId="{1D0D03E3-3226-4873-A599-0FE1608CAE58}" dt="2024-09-18T14:42:43.129" v="5104" actId="1038"/>
          <ac:spMkLst>
            <pc:docMk/>
            <pc:sldMk cId="2866745714" sldId="4080"/>
            <ac:spMk id="37" creationId="{F665AFCA-53BD-5A43-AA43-A452DF6B5BE6}"/>
          </ac:spMkLst>
        </pc:spChg>
        <pc:spChg chg="add del mod">
          <ac:chgData name="Hafiz Muhammad Salman" userId="47f5b1ff-37b9-4dd0-a37a-3bc5aec52fa1" providerId="ADAL" clId="{1D0D03E3-3226-4873-A599-0FE1608CAE58}" dt="2024-09-18T14:42:36.223" v="5090" actId="478"/>
          <ac:spMkLst>
            <pc:docMk/>
            <pc:sldMk cId="2866745714" sldId="4080"/>
            <ac:spMk id="39" creationId="{BEC176D8-8C86-084C-9E55-A9527295AD71}"/>
          </ac:spMkLst>
        </pc:spChg>
        <pc:spChg chg="add del mod">
          <ac:chgData name="Hafiz Muhammad Salman" userId="47f5b1ff-37b9-4dd0-a37a-3bc5aec52fa1" providerId="ADAL" clId="{1D0D03E3-3226-4873-A599-0FE1608CAE58}" dt="2024-09-18T14:42:36.223" v="5090" actId="478"/>
          <ac:spMkLst>
            <pc:docMk/>
            <pc:sldMk cId="2866745714" sldId="4080"/>
            <ac:spMk id="40" creationId="{27FF72FE-DFD3-5645-B047-955AFE723F3C}"/>
          </ac:spMkLst>
        </pc:spChg>
      </pc:sldChg>
      <pc:sldChg chg="del">
        <pc:chgData name="Hafiz Muhammad Salman" userId="47f5b1ff-37b9-4dd0-a37a-3bc5aec52fa1" providerId="ADAL" clId="{1D0D03E3-3226-4873-A599-0FE1608CAE58}" dt="2024-09-11T11:23:52.920" v="1609" actId="2696"/>
        <pc:sldMkLst>
          <pc:docMk/>
          <pc:sldMk cId="569291440" sldId="4081"/>
        </pc:sldMkLst>
      </pc:sldChg>
      <pc:sldChg chg="del">
        <pc:chgData name="Hafiz Muhammad Salman" userId="47f5b1ff-37b9-4dd0-a37a-3bc5aec52fa1" providerId="ADAL" clId="{1D0D03E3-3226-4873-A599-0FE1608CAE58}" dt="2024-09-11T13:20:46.394" v="2583" actId="47"/>
        <pc:sldMkLst>
          <pc:docMk/>
          <pc:sldMk cId="109560970" sldId="4082"/>
        </pc:sldMkLst>
      </pc:sldChg>
      <pc:sldChg chg="del">
        <pc:chgData name="Hafiz Muhammad Salman" userId="47f5b1ff-37b9-4dd0-a37a-3bc5aec52fa1" providerId="ADAL" clId="{1D0D03E3-3226-4873-A599-0FE1608CAE58}" dt="2024-09-11T13:20:48.483" v="2584" actId="47"/>
        <pc:sldMkLst>
          <pc:docMk/>
          <pc:sldMk cId="1394355474" sldId="4083"/>
        </pc:sldMkLst>
      </pc:sldChg>
      <pc:sldChg chg="add del">
        <pc:chgData name="Hafiz Muhammad Salman" userId="47f5b1ff-37b9-4dd0-a37a-3bc5aec52fa1" providerId="ADAL" clId="{1D0D03E3-3226-4873-A599-0FE1608CAE58}" dt="2024-09-11T13:21:21.945" v="2592" actId="47"/>
        <pc:sldMkLst>
          <pc:docMk/>
          <pc:sldMk cId="2602778313" sldId="4084"/>
        </pc:sldMkLst>
      </pc:sldChg>
      <pc:sldChg chg="del">
        <pc:chgData name="Hafiz Muhammad Salman" userId="47f5b1ff-37b9-4dd0-a37a-3bc5aec52fa1" providerId="ADAL" clId="{1D0D03E3-3226-4873-A599-0FE1608CAE58}" dt="2024-09-11T13:21:03.229" v="2589" actId="47"/>
        <pc:sldMkLst>
          <pc:docMk/>
          <pc:sldMk cId="2942149393" sldId="4085"/>
        </pc:sldMkLst>
      </pc:sldChg>
      <pc:sldChg chg="modSp del mod">
        <pc:chgData name="Hafiz Muhammad Salman" userId="47f5b1ff-37b9-4dd0-a37a-3bc5aec52fa1" providerId="ADAL" clId="{1D0D03E3-3226-4873-A599-0FE1608CAE58}" dt="2024-09-12T14:48:23.485" v="4207" actId="47"/>
        <pc:sldMkLst>
          <pc:docMk/>
          <pc:sldMk cId="3931788159" sldId="4087"/>
        </pc:sldMkLst>
        <pc:spChg chg="mod">
          <ac:chgData name="Hafiz Muhammad Salman" userId="47f5b1ff-37b9-4dd0-a37a-3bc5aec52fa1" providerId="ADAL" clId="{1D0D03E3-3226-4873-A599-0FE1608CAE58}" dt="2024-09-12T14:37:06.083" v="4021" actId="790"/>
          <ac:spMkLst>
            <pc:docMk/>
            <pc:sldMk cId="3931788159" sldId="4087"/>
            <ac:spMk id="26" creationId="{F0EFE26D-E387-D142-AF15-52886D89B6F7}"/>
          </ac:spMkLst>
        </pc:spChg>
        <pc:spChg chg="mod">
          <ac:chgData name="Hafiz Muhammad Salman" userId="47f5b1ff-37b9-4dd0-a37a-3bc5aec52fa1" providerId="ADAL" clId="{1D0D03E3-3226-4873-A599-0FE1608CAE58}" dt="2024-09-12T14:37:06.084" v="4022" actId="790"/>
          <ac:spMkLst>
            <pc:docMk/>
            <pc:sldMk cId="3931788159" sldId="4087"/>
            <ac:spMk id="27" creationId="{B72A5B4A-93A2-2D41-BC9C-FC4B6E0D1306}"/>
          </ac:spMkLst>
        </pc:spChg>
        <pc:spChg chg="mod">
          <ac:chgData name="Hafiz Muhammad Salman" userId="47f5b1ff-37b9-4dd0-a37a-3bc5aec52fa1" providerId="ADAL" clId="{1D0D03E3-3226-4873-A599-0FE1608CAE58}" dt="2024-09-12T14:37:06.085" v="4023" actId="790"/>
          <ac:spMkLst>
            <pc:docMk/>
            <pc:sldMk cId="3931788159" sldId="4087"/>
            <ac:spMk id="28" creationId="{7BE7D187-4C13-5F45-A875-C3EA1AB62F85}"/>
          </ac:spMkLst>
        </pc:spChg>
        <pc:spChg chg="mod">
          <ac:chgData name="Hafiz Muhammad Salman" userId="47f5b1ff-37b9-4dd0-a37a-3bc5aec52fa1" providerId="ADAL" clId="{1D0D03E3-3226-4873-A599-0FE1608CAE58}" dt="2024-09-12T14:37:06.086" v="4024" actId="790"/>
          <ac:spMkLst>
            <pc:docMk/>
            <pc:sldMk cId="3931788159" sldId="4087"/>
            <ac:spMk id="29" creationId="{BFCF020C-9395-3B49-A4E9-3F9A387A160A}"/>
          </ac:spMkLst>
        </pc:spChg>
        <pc:spChg chg="mod">
          <ac:chgData name="Hafiz Muhammad Salman" userId="47f5b1ff-37b9-4dd0-a37a-3bc5aec52fa1" providerId="ADAL" clId="{1D0D03E3-3226-4873-A599-0FE1608CAE58}" dt="2024-09-12T14:37:06.087" v="4025" actId="790"/>
          <ac:spMkLst>
            <pc:docMk/>
            <pc:sldMk cId="3931788159" sldId="4087"/>
            <ac:spMk id="30" creationId="{CE3B1505-CF8E-0F4E-8D79-96350C17A84E}"/>
          </ac:spMkLst>
        </pc:spChg>
        <pc:spChg chg="mod">
          <ac:chgData name="Hafiz Muhammad Salman" userId="47f5b1ff-37b9-4dd0-a37a-3bc5aec52fa1" providerId="ADAL" clId="{1D0D03E3-3226-4873-A599-0FE1608CAE58}" dt="2024-09-12T14:37:06.088" v="4026" actId="790"/>
          <ac:spMkLst>
            <pc:docMk/>
            <pc:sldMk cId="3931788159" sldId="4087"/>
            <ac:spMk id="32" creationId="{64F2DF59-7FC3-DE41-90AF-C708CB4D8981}"/>
          </ac:spMkLst>
        </pc:spChg>
        <pc:spChg chg="mod">
          <ac:chgData name="Hafiz Muhammad Salman" userId="47f5b1ff-37b9-4dd0-a37a-3bc5aec52fa1" providerId="ADAL" clId="{1D0D03E3-3226-4873-A599-0FE1608CAE58}" dt="2024-09-12T14:37:06.089" v="4027" actId="790"/>
          <ac:spMkLst>
            <pc:docMk/>
            <pc:sldMk cId="3931788159" sldId="4087"/>
            <ac:spMk id="33" creationId="{5A312489-DFBE-3C42-82E6-4FD4F99E71C9}"/>
          </ac:spMkLst>
        </pc:spChg>
        <pc:spChg chg="mod">
          <ac:chgData name="Hafiz Muhammad Salman" userId="47f5b1ff-37b9-4dd0-a37a-3bc5aec52fa1" providerId="ADAL" clId="{1D0D03E3-3226-4873-A599-0FE1608CAE58}" dt="2024-09-12T14:37:06.091" v="4028" actId="790"/>
          <ac:spMkLst>
            <pc:docMk/>
            <pc:sldMk cId="3931788159" sldId="4087"/>
            <ac:spMk id="38" creationId="{C439C4E5-9242-D840-9325-D99E86E76426}"/>
          </ac:spMkLst>
        </pc:spChg>
        <pc:spChg chg="mod">
          <ac:chgData name="Hafiz Muhammad Salman" userId="47f5b1ff-37b9-4dd0-a37a-3bc5aec52fa1" providerId="ADAL" clId="{1D0D03E3-3226-4873-A599-0FE1608CAE58}" dt="2024-09-12T14:37:06.092" v="4029" actId="790"/>
          <ac:spMkLst>
            <pc:docMk/>
            <pc:sldMk cId="3931788159" sldId="4087"/>
            <ac:spMk id="39" creationId="{49497AB5-15D8-2F4F-9640-DE94C1A99D55}"/>
          </ac:spMkLst>
        </pc:spChg>
        <pc:spChg chg="mod">
          <ac:chgData name="Hafiz Muhammad Salman" userId="47f5b1ff-37b9-4dd0-a37a-3bc5aec52fa1" providerId="ADAL" clId="{1D0D03E3-3226-4873-A599-0FE1608CAE58}" dt="2024-09-12T14:37:06.093" v="4030" actId="790"/>
          <ac:spMkLst>
            <pc:docMk/>
            <pc:sldMk cId="3931788159" sldId="4087"/>
            <ac:spMk id="41" creationId="{A2A2E80B-651E-5D40-8E93-C763FA99E316}"/>
          </ac:spMkLst>
        </pc:spChg>
        <pc:spChg chg="mod">
          <ac:chgData name="Hafiz Muhammad Salman" userId="47f5b1ff-37b9-4dd0-a37a-3bc5aec52fa1" providerId="ADAL" clId="{1D0D03E3-3226-4873-A599-0FE1608CAE58}" dt="2024-09-12T14:37:06.094" v="4031" actId="790"/>
          <ac:spMkLst>
            <pc:docMk/>
            <pc:sldMk cId="3931788159" sldId="4087"/>
            <ac:spMk id="42" creationId="{A3B0CE98-9E0E-C044-A03A-48A1CDC927C6}"/>
          </ac:spMkLst>
        </pc:spChg>
        <pc:spChg chg="mod">
          <ac:chgData name="Hafiz Muhammad Salman" userId="47f5b1ff-37b9-4dd0-a37a-3bc5aec52fa1" providerId="ADAL" clId="{1D0D03E3-3226-4873-A599-0FE1608CAE58}" dt="2024-09-12T14:37:06.096" v="4032" actId="790"/>
          <ac:spMkLst>
            <pc:docMk/>
            <pc:sldMk cId="3931788159" sldId="4087"/>
            <ac:spMk id="44" creationId="{C468EDA5-D848-434E-9174-35D8A7D9EB39}"/>
          </ac:spMkLst>
        </pc:spChg>
        <pc:spChg chg="mod">
          <ac:chgData name="Hafiz Muhammad Salman" userId="47f5b1ff-37b9-4dd0-a37a-3bc5aec52fa1" providerId="ADAL" clId="{1D0D03E3-3226-4873-A599-0FE1608CAE58}" dt="2024-09-12T14:37:06.097" v="4033" actId="790"/>
          <ac:spMkLst>
            <pc:docMk/>
            <pc:sldMk cId="3931788159" sldId="4087"/>
            <ac:spMk id="45" creationId="{A8C3F81B-3B0F-A94D-82FD-DE6960FB7305}"/>
          </ac:spMkLst>
        </pc:spChg>
        <pc:spChg chg="mod">
          <ac:chgData name="Hafiz Muhammad Salman" userId="47f5b1ff-37b9-4dd0-a37a-3bc5aec52fa1" providerId="ADAL" clId="{1D0D03E3-3226-4873-A599-0FE1608CAE58}" dt="2024-09-12T14:37:06.098" v="4034" actId="790"/>
          <ac:spMkLst>
            <pc:docMk/>
            <pc:sldMk cId="3931788159" sldId="4087"/>
            <ac:spMk id="46" creationId="{9E7ED9E8-ABD1-8145-BC3B-9EF14D6939F1}"/>
          </ac:spMkLst>
        </pc:spChg>
        <pc:spChg chg="mod">
          <ac:chgData name="Hafiz Muhammad Salman" userId="47f5b1ff-37b9-4dd0-a37a-3bc5aec52fa1" providerId="ADAL" clId="{1D0D03E3-3226-4873-A599-0FE1608CAE58}" dt="2024-09-12T14:37:06.100" v="4035" actId="790"/>
          <ac:spMkLst>
            <pc:docMk/>
            <pc:sldMk cId="3931788159" sldId="4087"/>
            <ac:spMk id="47" creationId="{AF075680-55BF-3444-920A-22EE1B8ECBFC}"/>
          </ac:spMkLst>
        </pc:spChg>
        <pc:spChg chg="mod">
          <ac:chgData name="Hafiz Muhammad Salman" userId="47f5b1ff-37b9-4dd0-a37a-3bc5aec52fa1" providerId="ADAL" clId="{1D0D03E3-3226-4873-A599-0FE1608CAE58}" dt="2024-09-12T14:37:06.101" v="4036" actId="790"/>
          <ac:spMkLst>
            <pc:docMk/>
            <pc:sldMk cId="3931788159" sldId="4087"/>
            <ac:spMk id="48" creationId="{2D80FA17-40E9-6D46-869E-1FBB1804B610}"/>
          </ac:spMkLst>
        </pc:spChg>
        <pc:spChg chg="mod">
          <ac:chgData name="Hafiz Muhammad Salman" userId="47f5b1ff-37b9-4dd0-a37a-3bc5aec52fa1" providerId="ADAL" clId="{1D0D03E3-3226-4873-A599-0FE1608CAE58}" dt="2024-09-12T14:37:06.102" v="4037" actId="790"/>
          <ac:spMkLst>
            <pc:docMk/>
            <pc:sldMk cId="3931788159" sldId="4087"/>
            <ac:spMk id="49" creationId="{787353F4-37D6-5F4E-BAA2-57ECBACFCC2F}"/>
          </ac:spMkLst>
        </pc:spChg>
        <pc:spChg chg="mod">
          <ac:chgData name="Hafiz Muhammad Salman" userId="47f5b1ff-37b9-4dd0-a37a-3bc5aec52fa1" providerId="ADAL" clId="{1D0D03E3-3226-4873-A599-0FE1608CAE58}" dt="2024-09-12T14:37:06.104" v="4038" actId="790"/>
          <ac:spMkLst>
            <pc:docMk/>
            <pc:sldMk cId="3931788159" sldId="4087"/>
            <ac:spMk id="50" creationId="{35C40B35-A4B2-F043-80E6-42668FFEFA07}"/>
          </ac:spMkLst>
        </pc:spChg>
      </pc:sldChg>
      <pc:sldChg chg="modSp del mod">
        <pc:chgData name="Hafiz Muhammad Salman" userId="47f5b1ff-37b9-4dd0-a37a-3bc5aec52fa1" providerId="ADAL" clId="{1D0D03E3-3226-4873-A599-0FE1608CAE58}" dt="2024-09-12T10:02:12.210" v="3958" actId="47"/>
        <pc:sldMkLst>
          <pc:docMk/>
          <pc:sldMk cId="2982642642" sldId="4089"/>
        </pc:sldMkLst>
        <pc:spChg chg="mod">
          <ac:chgData name="Hafiz Muhammad Salman" userId="47f5b1ff-37b9-4dd0-a37a-3bc5aec52fa1" providerId="ADAL" clId="{1D0D03E3-3226-4873-A599-0FE1608CAE58}" dt="2024-09-12T08:27:24.296" v="3149" actId="790"/>
          <ac:spMkLst>
            <pc:docMk/>
            <pc:sldMk cId="2982642642" sldId="4089"/>
            <ac:spMk id="19" creationId="{88F2DCF0-F152-2947-922C-C2780FDF334A}"/>
          </ac:spMkLst>
        </pc:spChg>
        <pc:spChg chg="mod">
          <ac:chgData name="Hafiz Muhammad Salman" userId="47f5b1ff-37b9-4dd0-a37a-3bc5aec52fa1" providerId="ADAL" clId="{1D0D03E3-3226-4873-A599-0FE1608CAE58}" dt="2024-09-12T08:27:24.297" v="3150" actId="790"/>
          <ac:spMkLst>
            <pc:docMk/>
            <pc:sldMk cId="2982642642" sldId="4089"/>
            <ac:spMk id="20" creationId="{811CC4EB-A51A-314A-9BB4-D55FEFA63C92}"/>
          </ac:spMkLst>
        </pc:spChg>
        <pc:spChg chg="mod">
          <ac:chgData name="Hafiz Muhammad Salman" userId="47f5b1ff-37b9-4dd0-a37a-3bc5aec52fa1" providerId="ADAL" clId="{1D0D03E3-3226-4873-A599-0FE1608CAE58}" dt="2024-09-12T08:27:24.298" v="3151" actId="790"/>
          <ac:spMkLst>
            <pc:docMk/>
            <pc:sldMk cId="2982642642" sldId="4089"/>
            <ac:spMk id="21" creationId="{424A3416-478B-5547-8EBF-98B96B1FF38B}"/>
          </ac:spMkLst>
        </pc:spChg>
        <pc:spChg chg="mod">
          <ac:chgData name="Hafiz Muhammad Salman" userId="47f5b1ff-37b9-4dd0-a37a-3bc5aec52fa1" providerId="ADAL" clId="{1D0D03E3-3226-4873-A599-0FE1608CAE58}" dt="2024-09-12T08:27:24.300" v="3152" actId="790"/>
          <ac:spMkLst>
            <pc:docMk/>
            <pc:sldMk cId="2982642642" sldId="4089"/>
            <ac:spMk id="22" creationId="{AAA3EB23-7F94-3A4E-8DA1-814B30FE30BF}"/>
          </ac:spMkLst>
        </pc:spChg>
        <pc:spChg chg="mod">
          <ac:chgData name="Hafiz Muhammad Salman" userId="47f5b1ff-37b9-4dd0-a37a-3bc5aec52fa1" providerId="ADAL" clId="{1D0D03E3-3226-4873-A599-0FE1608CAE58}" dt="2024-09-12T08:27:24.302" v="3153" actId="790"/>
          <ac:spMkLst>
            <pc:docMk/>
            <pc:sldMk cId="2982642642" sldId="4089"/>
            <ac:spMk id="23" creationId="{0B95B206-23B2-F64A-AC02-E2B6E7106D81}"/>
          </ac:spMkLst>
        </pc:spChg>
        <pc:spChg chg="mod">
          <ac:chgData name="Hafiz Muhammad Salman" userId="47f5b1ff-37b9-4dd0-a37a-3bc5aec52fa1" providerId="ADAL" clId="{1D0D03E3-3226-4873-A599-0FE1608CAE58}" dt="2024-09-12T08:27:24.303" v="3154" actId="790"/>
          <ac:spMkLst>
            <pc:docMk/>
            <pc:sldMk cId="2982642642" sldId="4089"/>
            <ac:spMk id="28" creationId="{A0296B10-5267-4845-B151-82818F4A7DDF}"/>
          </ac:spMkLst>
        </pc:spChg>
        <pc:spChg chg="mod">
          <ac:chgData name="Hafiz Muhammad Salman" userId="47f5b1ff-37b9-4dd0-a37a-3bc5aec52fa1" providerId="ADAL" clId="{1D0D03E3-3226-4873-A599-0FE1608CAE58}" dt="2024-09-12T08:27:24.304" v="3155" actId="790"/>
          <ac:spMkLst>
            <pc:docMk/>
            <pc:sldMk cId="2982642642" sldId="4089"/>
            <ac:spMk id="29" creationId="{5E16A826-516A-C248-B444-A314598A4CEB}"/>
          </ac:spMkLst>
        </pc:spChg>
        <pc:spChg chg="mod">
          <ac:chgData name="Hafiz Muhammad Salman" userId="47f5b1ff-37b9-4dd0-a37a-3bc5aec52fa1" providerId="ADAL" clId="{1D0D03E3-3226-4873-A599-0FE1608CAE58}" dt="2024-09-12T08:27:24.305" v="3156" actId="790"/>
          <ac:spMkLst>
            <pc:docMk/>
            <pc:sldMk cId="2982642642" sldId="4089"/>
            <ac:spMk id="30" creationId="{8DCD2A15-DBD2-D341-84FC-F736224524D4}"/>
          </ac:spMkLst>
        </pc:spChg>
        <pc:spChg chg="mod">
          <ac:chgData name="Hafiz Muhammad Salman" userId="47f5b1ff-37b9-4dd0-a37a-3bc5aec52fa1" providerId="ADAL" clId="{1D0D03E3-3226-4873-A599-0FE1608CAE58}" dt="2024-09-12T08:27:24.306" v="3157" actId="790"/>
          <ac:spMkLst>
            <pc:docMk/>
            <pc:sldMk cId="2982642642" sldId="4089"/>
            <ac:spMk id="31" creationId="{609F2806-9715-DC46-9076-5C29665F304D}"/>
          </ac:spMkLst>
        </pc:spChg>
        <pc:spChg chg="mod">
          <ac:chgData name="Hafiz Muhammad Salman" userId="47f5b1ff-37b9-4dd0-a37a-3bc5aec52fa1" providerId="ADAL" clId="{1D0D03E3-3226-4873-A599-0FE1608CAE58}" dt="2024-09-12T08:27:24.308" v="3158" actId="790"/>
          <ac:spMkLst>
            <pc:docMk/>
            <pc:sldMk cId="2982642642" sldId="4089"/>
            <ac:spMk id="33" creationId="{110AA845-A083-2445-8603-929A4FD52FCE}"/>
          </ac:spMkLst>
        </pc:spChg>
        <pc:spChg chg="mod">
          <ac:chgData name="Hafiz Muhammad Salman" userId="47f5b1ff-37b9-4dd0-a37a-3bc5aec52fa1" providerId="ADAL" clId="{1D0D03E3-3226-4873-A599-0FE1608CAE58}" dt="2024-09-12T08:27:24.292" v="3145" actId="790"/>
          <ac:spMkLst>
            <pc:docMk/>
            <pc:sldMk cId="2982642642" sldId="4089"/>
            <ac:spMk id="34" creationId="{CC131338-016A-9C42-966F-95708D6E3D69}"/>
          </ac:spMkLst>
        </pc:spChg>
        <pc:spChg chg="mod">
          <ac:chgData name="Hafiz Muhammad Salman" userId="47f5b1ff-37b9-4dd0-a37a-3bc5aec52fa1" providerId="ADAL" clId="{1D0D03E3-3226-4873-A599-0FE1608CAE58}" dt="2024-09-12T08:27:24.293" v="3146" actId="790"/>
          <ac:spMkLst>
            <pc:docMk/>
            <pc:sldMk cId="2982642642" sldId="4089"/>
            <ac:spMk id="35" creationId="{F0108D22-0612-004D-91DE-94908B76D52B}"/>
          </ac:spMkLst>
        </pc:spChg>
        <pc:spChg chg="mod">
          <ac:chgData name="Hafiz Muhammad Salman" userId="47f5b1ff-37b9-4dd0-a37a-3bc5aec52fa1" providerId="ADAL" clId="{1D0D03E3-3226-4873-A599-0FE1608CAE58}" dt="2024-09-12T08:27:24.294" v="3147" actId="790"/>
          <ac:spMkLst>
            <pc:docMk/>
            <pc:sldMk cId="2982642642" sldId="4089"/>
            <ac:spMk id="36" creationId="{66A0AEBF-A20C-BE4D-9A5D-BBF453C61787}"/>
          </ac:spMkLst>
        </pc:spChg>
        <pc:spChg chg="mod">
          <ac:chgData name="Hafiz Muhammad Salman" userId="47f5b1ff-37b9-4dd0-a37a-3bc5aec52fa1" providerId="ADAL" clId="{1D0D03E3-3226-4873-A599-0FE1608CAE58}" dt="2024-09-12T08:27:24.295" v="3148" actId="790"/>
          <ac:spMkLst>
            <pc:docMk/>
            <pc:sldMk cId="2982642642" sldId="4089"/>
            <ac:spMk id="37" creationId="{598A2E84-2553-CC40-B0C8-FBB5F8B17FA4}"/>
          </ac:spMkLst>
        </pc:spChg>
        <pc:spChg chg="mod">
          <ac:chgData name="Hafiz Muhammad Salman" userId="47f5b1ff-37b9-4dd0-a37a-3bc5aec52fa1" providerId="ADAL" clId="{1D0D03E3-3226-4873-A599-0FE1608CAE58}" dt="2024-09-12T08:27:24.309" v="3159" actId="790"/>
          <ac:spMkLst>
            <pc:docMk/>
            <pc:sldMk cId="2982642642" sldId="4089"/>
            <ac:spMk id="38" creationId="{8A1D67E4-02D3-8549-9794-8FCE3E8957F2}"/>
          </ac:spMkLst>
        </pc:spChg>
        <pc:spChg chg="mod">
          <ac:chgData name="Hafiz Muhammad Salman" userId="47f5b1ff-37b9-4dd0-a37a-3bc5aec52fa1" providerId="ADAL" clId="{1D0D03E3-3226-4873-A599-0FE1608CAE58}" dt="2024-09-12T08:27:24.310" v="3160" actId="790"/>
          <ac:spMkLst>
            <pc:docMk/>
            <pc:sldMk cId="2982642642" sldId="4089"/>
            <ac:spMk id="39" creationId="{66862596-03C1-3942-9F70-AE53D3C3B52A}"/>
          </ac:spMkLst>
        </pc:spChg>
        <pc:spChg chg="mod">
          <ac:chgData name="Hafiz Muhammad Salman" userId="47f5b1ff-37b9-4dd0-a37a-3bc5aec52fa1" providerId="ADAL" clId="{1D0D03E3-3226-4873-A599-0FE1608CAE58}" dt="2024-09-12T08:27:24.311" v="3161" actId="790"/>
          <ac:spMkLst>
            <pc:docMk/>
            <pc:sldMk cId="2982642642" sldId="4089"/>
            <ac:spMk id="40" creationId="{505E62AA-018E-1C4D-ABB5-286F8B1A68F1}"/>
          </ac:spMkLst>
        </pc:spChg>
        <pc:spChg chg="mod">
          <ac:chgData name="Hafiz Muhammad Salman" userId="47f5b1ff-37b9-4dd0-a37a-3bc5aec52fa1" providerId="ADAL" clId="{1D0D03E3-3226-4873-A599-0FE1608CAE58}" dt="2024-09-12T08:27:24.313" v="3162" actId="790"/>
          <ac:spMkLst>
            <pc:docMk/>
            <pc:sldMk cId="2982642642" sldId="4089"/>
            <ac:spMk id="41" creationId="{74C1C193-4160-CD4D-B6F4-0AC2F1A882F7}"/>
          </ac:spMkLst>
        </pc:spChg>
        <pc:spChg chg="mod">
          <ac:chgData name="Hafiz Muhammad Salman" userId="47f5b1ff-37b9-4dd0-a37a-3bc5aec52fa1" providerId="ADAL" clId="{1D0D03E3-3226-4873-A599-0FE1608CAE58}" dt="2024-09-12T08:27:24.314" v="3163" actId="790"/>
          <ac:spMkLst>
            <pc:docMk/>
            <pc:sldMk cId="2982642642" sldId="4089"/>
            <ac:spMk id="42" creationId="{ACB3B291-F11F-2C40-822A-E87737BE1F0D}"/>
          </ac:spMkLst>
        </pc:spChg>
        <pc:spChg chg="mod">
          <ac:chgData name="Hafiz Muhammad Salman" userId="47f5b1ff-37b9-4dd0-a37a-3bc5aec52fa1" providerId="ADAL" clId="{1D0D03E3-3226-4873-A599-0FE1608CAE58}" dt="2024-09-12T08:27:24.316" v="3164" actId="790"/>
          <ac:spMkLst>
            <pc:docMk/>
            <pc:sldMk cId="2982642642" sldId="4089"/>
            <ac:spMk id="45" creationId="{342DA236-1D7E-6B4E-B65F-E450E5335A77}"/>
          </ac:spMkLst>
        </pc:spChg>
        <pc:spChg chg="mod">
          <ac:chgData name="Hafiz Muhammad Salman" userId="47f5b1ff-37b9-4dd0-a37a-3bc5aec52fa1" providerId="ADAL" clId="{1D0D03E3-3226-4873-A599-0FE1608CAE58}" dt="2024-09-12T08:27:24.317" v="3165" actId="790"/>
          <ac:spMkLst>
            <pc:docMk/>
            <pc:sldMk cId="2982642642" sldId="4089"/>
            <ac:spMk id="46" creationId="{951FA9D0-BC36-E842-A82D-A0F54DF05377}"/>
          </ac:spMkLst>
        </pc:spChg>
        <pc:spChg chg="mod">
          <ac:chgData name="Hafiz Muhammad Salman" userId="47f5b1ff-37b9-4dd0-a37a-3bc5aec52fa1" providerId="ADAL" clId="{1D0D03E3-3226-4873-A599-0FE1608CAE58}" dt="2024-09-12T08:27:24.318" v="3166" actId="790"/>
          <ac:spMkLst>
            <pc:docMk/>
            <pc:sldMk cId="2982642642" sldId="4089"/>
            <ac:spMk id="48" creationId="{B25F47DB-13AB-6F46-BE8F-972EC72F1CBF}"/>
          </ac:spMkLst>
        </pc:spChg>
        <pc:spChg chg="mod">
          <ac:chgData name="Hafiz Muhammad Salman" userId="47f5b1ff-37b9-4dd0-a37a-3bc5aec52fa1" providerId="ADAL" clId="{1D0D03E3-3226-4873-A599-0FE1608CAE58}" dt="2024-09-12T08:27:24.320" v="3167" actId="790"/>
          <ac:spMkLst>
            <pc:docMk/>
            <pc:sldMk cId="2982642642" sldId="4089"/>
            <ac:spMk id="49" creationId="{B67D7738-152B-1443-B810-990CDC512172}"/>
          </ac:spMkLst>
        </pc:spChg>
        <pc:spChg chg="mod">
          <ac:chgData name="Hafiz Muhammad Salman" userId="47f5b1ff-37b9-4dd0-a37a-3bc5aec52fa1" providerId="ADAL" clId="{1D0D03E3-3226-4873-A599-0FE1608CAE58}" dt="2024-09-12T08:27:24.322" v="3168" actId="790"/>
          <ac:spMkLst>
            <pc:docMk/>
            <pc:sldMk cId="2982642642" sldId="4089"/>
            <ac:spMk id="51" creationId="{64BDE9CB-18E9-4E4A-B2B2-105737E1B319}"/>
          </ac:spMkLst>
        </pc:spChg>
        <pc:spChg chg="mod">
          <ac:chgData name="Hafiz Muhammad Salman" userId="47f5b1ff-37b9-4dd0-a37a-3bc5aec52fa1" providerId="ADAL" clId="{1D0D03E3-3226-4873-A599-0FE1608CAE58}" dt="2024-09-12T08:27:24.324" v="3169" actId="790"/>
          <ac:spMkLst>
            <pc:docMk/>
            <pc:sldMk cId="2982642642" sldId="4089"/>
            <ac:spMk id="52" creationId="{0660C917-D760-254A-9553-7AA0F39C2FE6}"/>
          </ac:spMkLst>
        </pc:spChg>
      </pc:sldChg>
      <pc:sldChg chg="modSp del mod">
        <pc:chgData name="Hafiz Muhammad Salman" userId="47f5b1ff-37b9-4dd0-a37a-3bc5aec52fa1" providerId="ADAL" clId="{1D0D03E3-3226-4873-A599-0FE1608CAE58}" dt="2024-09-12T10:02:16.808" v="3959" actId="47"/>
        <pc:sldMkLst>
          <pc:docMk/>
          <pc:sldMk cId="36183022" sldId="4090"/>
        </pc:sldMkLst>
        <pc:spChg chg="mod">
          <ac:chgData name="Hafiz Muhammad Salman" userId="47f5b1ff-37b9-4dd0-a37a-3bc5aec52fa1" providerId="ADAL" clId="{1D0D03E3-3226-4873-A599-0FE1608CAE58}" dt="2024-09-12T08:27:23.796" v="3127" actId="790"/>
          <ac:spMkLst>
            <pc:docMk/>
            <pc:sldMk cId="36183022" sldId="4090"/>
            <ac:spMk id="4" creationId="{E757234B-2F63-1A4C-AF8D-12EA00DFF82A}"/>
          </ac:spMkLst>
        </pc:spChg>
        <pc:spChg chg="mod">
          <ac:chgData name="Hafiz Muhammad Salman" userId="47f5b1ff-37b9-4dd0-a37a-3bc5aec52fa1" providerId="ADAL" clId="{1D0D03E3-3226-4873-A599-0FE1608CAE58}" dt="2024-09-12T08:27:23.797" v="3128" actId="790"/>
          <ac:spMkLst>
            <pc:docMk/>
            <pc:sldMk cId="36183022" sldId="4090"/>
            <ac:spMk id="5" creationId="{0A91A2D6-3793-B049-99F9-DB2292EB259C}"/>
          </ac:spMkLst>
        </pc:spChg>
        <pc:spChg chg="mod">
          <ac:chgData name="Hafiz Muhammad Salman" userId="47f5b1ff-37b9-4dd0-a37a-3bc5aec52fa1" providerId="ADAL" clId="{1D0D03E3-3226-4873-A599-0FE1608CAE58}" dt="2024-09-12T08:27:23.798" v="3129" actId="790"/>
          <ac:spMkLst>
            <pc:docMk/>
            <pc:sldMk cId="36183022" sldId="4090"/>
            <ac:spMk id="6" creationId="{40820004-A495-C846-AAA7-65166A65C596}"/>
          </ac:spMkLst>
        </pc:spChg>
        <pc:spChg chg="mod">
          <ac:chgData name="Hafiz Muhammad Salman" userId="47f5b1ff-37b9-4dd0-a37a-3bc5aec52fa1" providerId="ADAL" clId="{1D0D03E3-3226-4873-A599-0FE1608CAE58}" dt="2024-09-12T08:27:23.803" v="3130" actId="790"/>
          <ac:spMkLst>
            <pc:docMk/>
            <pc:sldMk cId="36183022" sldId="4090"/>
            <ac:spMk id="24" creationId="{B4C1B726-327C-6347-98A7-A715BA31A35A}"/>
          </ac:spMkLst>
        </pc:spChg>
        <pc:spChg chg="mod">
          <ac:chgData name="Hafiz Muhammad Salman" userId="47f5b1ff-37b9-4dd0-a37a-3bc5aec52fa1" providerId="ADAL" clId="{1D0D03E3-3226-4873-A599-0FE1608CAE58}" dt="2024-09-12T08:27:23.805" v="3131" actId="790"/>
          <ac:spMkLst>
            <pc:docMk/>
            <pc:sldMk cId="36183022" sldId="4090"/>
            <ac:spMk id="25" creationId="{100551AC-D78D-9947-B4C2-E0C7E308C9D0}"/>
          </ac:spMkLst>
        </pc:spChg>
        <pc:spChg chg="mod">
          <ac:chgData name="Hafiz Muhammad Salman" userId="47f5b1ff-37b9-4dd0-a37a-3bc5aec52fa1" providerId="ADAL" clId="{1D0D03E3-3226-4873-A599-0FE1608CAE58}" dt="2024-09-12T08:27:23.807" v="3132" actId="790"/>
          <ac:spMkLst>
            <pc:docMk/>
            <pc:sldMk cId="36183022" sldId="4090"/>
            <ac:spMk id="26" creationId="{C4EF785B-69C4-1044-AE6D-1829BC319F2E}"/>
          </ac:spMkLst>
        </pc:spChg>
        <pc:spChg chg="mod">
          <ac:chgData name="Hafiz Muhammad Salman" userId="47f5b1ff-37b9-4dd0-a37a-3bc5aec52fa1" providerId="ADAL" clId="{1D0D03E3-3226-4873-A599-0FE1608CAE58}" dt="2024-09-12T08:27:23.809" v="3133" actId="790"/>
          <ac:spMkLst>
            <pc:docMk/>
            <pc:sldMk cId="36183022" sldId="4090"/>
            <ac:spMk id="27" creationId="{BE30BBC4-A5BE-E548-9F53-52682E06F897}"/>
          </ac:spMkLst>
        </pc:spChg>
        <pc:spChg chg="mod">
          <ac:chgData name="Hafiz Muhammad Salman" userId="47f5b1ff-37b9-4dd0-a37a-3bc5aec52fa1" providerId="ADAL" clId="{1D0D03E3-3226-4873-A599-0FE1608CAE58}" dt="2024-09-12T08:27:23.810" v="3134" actId="790"/>
          <ac:spMkLst>
            <pc:docMk/>
            <pc:sldMk cId="36183022" sldId="4090"/>
            <ac:spMk id="28" creationId="{AFCF5D4A-AE02-A843-8AB3-BC9F23679065}"/>
          </ac:spMkLst>
        </pc:spChg>
        <pc:spChg chg="mod">
          <ac:chgData name="Hafiz Muhammad Salman" userId="47f5b1ff-37b9-4dd0-a37a-3bc5aec52fa1" providerId="ADAL" clId="{1D0D03E3-3226-4873-A599-0FE1608CAE58}" dt="2024-09-12T08:27:23.813" v="3135" actId="790"/>
          <ac:spMkLst>
            <pc:docMk/>
            <pc:sldMk cId="36183022" sldId="4090"/>
            <ac:spMk id="29" creationId="{6EC0F172-E6FF-C040-A547-11FFDCA3A893}"/>
          </ac:spMkLst>
        </pc:spChg>
        <pc:spChg chg="mod">
          <ac:chgData name="Hafiz Muhammad Salman" userId="47f5b1ff-37b9-4dd0-a37a-3bc5aec52fa1" providerId="ADAL" clId="{1D0D03E3-3226-4873-A599-0FE1608CAE58}" dt="2024-09-12T08:27:23.815" v="3136" actId="790"/>
          <ac:spMkLst>
            <pc:docMk/>
            <pc:sldMk cId="36183022" sldId="4090"/>
            <ac:spMk id="30" creationId="{42DC3F93-C242-9743-9329-3CE25EF2751A}"/>
          </ac:spMkLst>
        </pc:spChg>
        <pc:spChg chg="mod">
          <ac:chgData name="Hafiz Muhammad Salman" userId="47f5b1ff-37b9-4dd0-a37a-3bc5aec52fa1" providerId="ADAL" clId="{1D0D03E3-3226-4873-A599-0FE1608CAE58}" dt="2024-09-12T08:27:23.817" v="3137" actId="790"/>
          <ac:spMkLst>
            <pc:docMk/>
            <pc:sldMk cId="36183022" sldId="4090"/>
            <ac:spMk id="33" creationId="{172A3612-2365-3C41-9880-E813C2C47D30}"/>
          </ac:spMkLst>
        </pc:spChg>
        <pc:spChg chg="mod">
          <ac:chgData name="Hafiz Muhammad Salman" userId="47f5b1ff-37b9-4dd0-a37a-3bc5aec52fa1" providerId="ADAL" clId="{1D0D03E3-3226-4873-A599-0FE1608CAE58}" dt="2024-09-12T08:27:23.819" v="3138" actId="790"/>
          <ac:spMkLst>
            <pc:docMk/>
            <pc:sldMk cId="36183022" sldId="4090"/>
            <ac:spMk id="34" creationId="{7740CE6A-1F0F-0848-B78C-D9C56B5D60F2}"/>
          </ac:spMkLst>
        </pc:spChg>
        <pc:spChg chg="mod">
          <ac:chgData name="Hafiz Muhammad Salman" userId="47f5b1ff-37b9-4dd0-a37a-3bc5aec52fa1" providerId="ADAL" clId="{1D0D03E3-3226-4873-A599-0FE1608CAE58}" dt="2024-09-12T08:27:23.822" v="3139" actId="790"/>
          <ac:spMkLst>
            <pc:docMk/>
            <pc:sldMk cId="36183022" sldId="4090"/>
            <ac:spMk id="37" creationId="{AE82AC5E-A581-0343-AF6C-9C78E8FB8392}"/>
          </ac:spMkLst>
        </pc:spChg>
        <pc:spChg chg="mod">
          <ac:chgData name="Hafiz Muhammad Salman" userId="47f5b1ff-37b9-4dd0-a37a-3bc5aec52fa1" providerId="ADAL" clId="{1D0D03E3-3226-4873-A599-0FE1608CAE58}" dt="2024-09-12T08:27:23.825" v="3140" actId="790"/>
          <ac:spMkLst>
            <pc:docMk/>
            <pc:sldMk cId="36183022" sldId="4090"/>
            <ac:spMk id="38" creationId="{7912A140-A04A-AC48-88C7-03A2901E0213}"/>
          </ac:spMkLst>
        </pc:spChg>
        <pc:spChg chg="mod">
          <ac:chgData name="Hafiz Muhammad Salman" userId="47f5b1ff-37b9-4dd0-a37a-3bc5aec52fa1" providerId="ADAL" clId="{1D0D03E3-3226-4873-A599-0FE1608CAE58}" dt="2024-09-12T08:27:23.828" v="3141" actId="790"/>
          <ac:spMkLst>
            <pc:docMk/>
            <pc:sldMk cId="36183022" sldId="4090"/>
            <ac:spMk id="40" creationId="{53CFF780-B2E3-1547-94DB-455F9E8ACD85}"/>
          </ac:spMkLst>
        </pc:spChg>
        <pc:spChg chg="mod">
          <ac:chgData name="Hafiz Muhammad Salman" userId="47f5b1ff-37b9-4dd0-a37a-3bc5aec52fa1" providerId="ADAL" clId="{1D0D03E3-3226-4873-A599-0FE1608CAE58}" dt="2024-09-12T08:27:23.831" v="3142" actId="790"/>
          <ac:spMkLst>
            <pc:docMk/>
            <pc:sldMk cId="36183022" sldId="4090"/>
            <ac:spMk id="41" creationId="{94F46AB4-52BB-A84A-AD04-707B50FC2CB0}"/>
          </ac:spMkLst>
        </pc:spChg>
        <pc:spChg chg="mod">
          <ac:chgData name="Hafiz Muhammad Salman" userId="47f5b1ff-37b9-4dd0-a37a-3bc5aec52fa1" providerId="ADAL" clId="{1D0D03E3-3226-4873-A599-0FE1608CAE58}" dt="2024-09-12T08:27:23.833" v="3143" actId="790"/>
          <ac:spMkLst>
            <pc:docMk/>
            <pc:sldMk cId="36183022" sldId="4090"/>
            <ac:spMk id="43" creationId="{025E0F43-822F-4349-BD4F-1AF4072BB2A8}"/>
          </ac:spMkLst>
        </pc:spChg>
        <pc:spChg chg="mod">
          <ac:chgData name="Hafiz Muhammad Salman" userId="47f5b1ff-37b9-4dd0-a37a-3bc5aec52fa1" providerId="ADAL" clId="{1D0D03E3-3226-4873-A599-0FE1608CAE58}" dt="2024-09-12T08:27:23.835" v="3144" actId="790"/>
          <ac:spMkLst>
            <pc:docMk/>
            <pc:sldMk cId="36183022" sldId="4090"/>
            <ac:spMk id="44" creationId="{F8BD2022-832D-8F46-898B-F766302ADB8B}"/>
          </ac:spMkLst>
        </pc:spChg>
      </pc:sldChg>
      <pc:sldChg chg="modSp del mod">
        <pc:chgData name="Hafiz Muhammad Salman" userId="47f5b1ff-37b9-4dd0-a37a-3bc5aec52fa1" providerId="ADAL" clId="{1D0D03E3-3226-4873-A599-0FE1608CAE58}" dt="2024-09-11T13:19:51.355" v="2570" actId="47"/>
        <pc:sldMkLst>
          <pc:docMk/>
          <pc:sldMk cId="4177534758" sldId="4094"/>
        </pc:sldMkLst>
        <pc:spChg chg="mod">
          <ac:chgData name="Hafiz Muhammad Salman" userId="47f5b1ff-37b9-4dd0-a37a-3bc5aec52fa1" providerId="ADAL" clId="{1D0D03E3-3226-4873-A599-0FE1608CAE58}" dt="2024-09-10T14:49:47.043" v="0" actId="790"/>
          <ac:spMkLst>
            <pc:docMk/>
            <pc:sldMk cId="4177534758" sldId="4094"/>
            <ac:spMk id="4" creationId="{33972E69-7A93-1542-B641-7751945EF5AB}"/>
          </ac:spMkLst>
        </pc:spChg>
        <pc:spChg chg="mod">
          <ac:chgData name="Hafiz Muhammad Salman" userId="47f5b1ff-37b9-4dd0-a37a-3bc5aec52fa1" providerId="ADAL" clId="{1D0D03E3-3226-4873-A599-0FE1608CAE58}" dt="2024-09-10T14:49:47.043" v="1" actId="790"/>
          <ac:spMkLst>
            <pc:docMk/>
            <pc:sldMk cId="4177534758" sldId="4094"/>
            <ac:spMk id="6" creationId="{2E10F3D9-7605-F24F-9BC1-99C143335B96}"/>
          </ac:spMkLst>
        </pc:spChg>
        <pc:spChg chg="mod">
          <ac:chgData name="Hafiz Muhammad Salman" userId="47f5b1ff-37b9-4dd0-a37a-3bc5aec52fa1" providerId="ADAL" clId="{1D0D03E3-3226-4873-A599-0FE1608CAE58}" dt="2024-09-10T14:49:47.043" v="2" actId="790"/>
          <ac:spMkLst>
            <pc:docMk/>
            <pc:sldMk cId="4177534758" sldId="4094"/>
            <ac:spMk id="8" creationId="{D9376309-8ED6-C647-BE57-2D99C87A18B9}"/>
          </ac:spMkLst>
        </pc:spChg>
        <pc:spChg chg="mod">
          <ac:chgData name="Hafiz Muhammad Salman" userId="47f5b1ff-37b9-4dd0-a37a-3bc5aec52fa1" providerId="ADAL" clId="{1D0D03E3-3226-4873-A599-0FE1608CAE58}" dt="2024-09-10T14:49:47.043" v="3" actId="790"/>
          <ac:spMkLst>
            <pc:docMk/>
            <pc:sldMk cId="4177534758" sldId="4094"/>
            <ac:spMk id="9" creationId="{6E276F86-FCD8-CB44-B9D8-56326ED448B8}"/>
          </ac:spMkLst>
        </pc:spChg>
        <pc:spChg chg="mod">
          <ac:chgData name="Hafiz Muhammad Salman" userId="47f5b1ff-37b9-4dd0-a37a-3bc5aec52fa1" providerId="ADAL" clId="{1D0D03E3-3226-4873-A599-0FE1608CAE58}" dt="2024-09-10T14:49:47.043" v="4" actId="790"/>
          <ac:spMkLst>
            <pc:docMk/>
            <pc:sldMk cId="4177534758" sldId="4094"/>
            <ac:spMk id="10" creationId="{37C92041-7259-AB41-8813-199329A30323}"/>
          </ac:spMkLst>
        </pc:spChg>
        <pc:spChg chg="mod">
          <ac:chgData name="Hafiz Muhammad Salman" userId="47f5b1ff-37b9-4dd0-a37a-3bc5aec52fa1" providerId="ADAL" clId="{1D0D03E3-3226-4873-A599-0FE1608CAE58}" dt="2024-09-10T14:49:47.043" v="5" actId="790"/>
          <ac:spMkLst>
            <pc:docMk/>
            <pc:sldMk cId="4177534758" sldId="4094"/>
            <ac:spMk id="12" creationId="{C5A7044E-2B61-CA48-8CD0-6FD998D105A8}"/>
          </ac:spMkLst>
        </pc:spChg>
        <pc:spChg chg="mod">
          <ac:chgData name="Hafiz Muhammad Salman" userId="47f5b1ff-37b9-4dd0-a37a-3bc5aec52fa1" providerId="ADAL" clId="{1D0D03E3-3226-4873-A599-0FE1608CAE58}" dt="2024-09-10T14:49:47.059" v="6" actId="790"/>
          <ac:spMkLst>
            <pc:docMk/>
            <pc:sldMk cId="4177534758" sldId="4094"/>
            <ac:spMk id="15" creationId="{24175446-4A98-1B4A-A919-54539BC68788}"/>
          </ac:spMkLst>
        </pc:spChg>
        <pc:spChg chg="mod">
          <ac:chgData name="Hafiz Muhammad Salman" userId="47f5b1ff-37b9-4dd0-a37a-3bc5aec52fa1" providerId="ADAL" clId="{1D0D03E3-3226-4873-A599-0FE1608CAE58}" dt="2024-09-10T14:49:47.059" v="7" actId="790"/>
          <ac:spMkLst>
            <pc:docMk/>
            <pc:sldMk cId="4177534758" sldId="4094"/>
            <ac:spMk id="16" creationId="{FD8EF46B-0B3C-8E47-87AD-67FB22EE7F84}"/>
          </ac:spMkLst>
        </pc:spChg>
        <pc:spChg chg="mod">
          <ac:chgData name="Hafiz Muhammad Salman" userId="47f5b1ff-37b9-4dd0-a37a-3bc5aec52fa1" providerId="ADAL" clId="{1D0D03E3-3226-4873-A599-0FE1608CAE58}" dt="2024-09-10T14:49:47.059" v="8" actId="790"/>
          <ac:spMkLst>
            <pc:docMk/>
            <pc:sldMk cId="4177534758" sldId="4094"/>
            <ac:spMk id="18" creationId="{00BEAD48-A702-F146-A80C-08596D9CF2B4}"/>
          </ac:spMkLst>
        </pc:spChg>
        <pc:spChg chg="mod">
          <ac:chgData name="Hafiz Muhammad Salman" userId="47f5b1ff-37b9-4dd0-a37a-3bc5aec52fa1" providerId="ADAL" clId="{1D0D03E3-3226-4873-A599-0FE1608CAE58}" dt="2024-09-10T14:49:47.059" v="11" actId="790"/>
          <ac:spMkLst>
            <pc:docMk/>
            <pc:sldMk cId="4177534758" sldId="4094"/>
            <ac:spMk id="20" creationId="{6B100454-9188-8246-8FB2-D7ED042E451B}"/>
          </ac:spMkLst>
        </pc:spChg>
        <pc:spChg chg="mod">
          <ac:chgData name="Hafiz Muhammad Salman" userId="47f5b1ff-37b9-4dd0-a37a-3bc5aec52fa1" providerId="ADAL" clId="{1D0D03E3-3226-4873-A599-0FE1608CAE58}" dt="2024-09-10T14:49:47.059" v="9" actId="790"/>
          <ac:spMkLst>
            <pc:docMk/>
            <pc:sldMk cId="4177534758" sldId="4094"/>
            <ac:spMk id="21" creationId="{216ACE8E-5C32-094F-A674-CE456316B8CF}"/>
          </ac:spMkLst>
        </pc:spChg>
        <pc:spChg chg="mod">
          <ac:chgData name="Hafiz Muhammad Salman" userId="47f5b1ff-37b9-4dd0-a37a-3bc5aec52fa1" providerId="ADAL" clId="{1D0D03E3-3226-4873-A599-0FE1608CAE58}" dt="2024-09-10T14:49:47.059" v="10" actId="790"/>
          <ac:spMkLst>
            <pc:docMk/>
            <pc:sldMk cId="4177534758" sldId="4094"/>
            <ac:spMk id="22" creationId="{B78CEA08-A90B-7842-B512-9F3B509B3E0B}"/>
          </ac:spMkLst>
        </pc:spChg>
        <pc:spChg chg="mod">
          <ac:chgData name="Hafiz Muhammad Salman" userId="47f5b1ff-37b9-4dd0-a37a-3bc5aec52fa1" providerId="ADAL" clId="{1D0D03E3-3226-4873-A599-0FE1608CAE58}" dt="2024-09-10T14:49:47.059" v="12" actId="790"/>
          <ac:spMkLst>
            <pc:docMk/>
            <pc:sldMk cId="4177534758" sldId="4094"/>
            <ac:spMk id="24" creationId="{DD3ABF80-DAEB-DF4C-BAE5-29EEB604D2BD}"/>
          </ac:spMkLst>
        </pc:spChg>
        <pc:spChg chg="mod">
          <ac:chgData name="Hafiz Muhammad Salman" userId="47f5b1ff-37b9-4dd0-a37a-3bc5aec52fa1" providerId="ADAL" clId="{1D0D03E3-3226-4873-A599-0FE1608CAE58}" dt="2024-09-10T14:49:47.059" v="13" actId="790"/>
          <ac:spMkLst>
            <pc:docMk/>
            <pc:sldMk cId="4177534758" sldId="4094"/>
            <ac:spMk id="25" creationId="{373D15F0-882C-C14D-B628-3D4311CD44C2}"/>
          </ac:spMkLst>
        </pc:spChg>
        <pc:spChg chg="mod">
          <ac:chgData name="Hafiz Muhammad Salman" userId="47f5b1ff-37b9-4dd0-a37a-3bc5aec52fa1" providerId="ADAL" clId="{1D0D03E3-3226-4873-A599-0FE1608CAE58}" dt="2024-09-10T14:49:47.059" v="14" actId="790"/>
          <ac:spMkLst>
            <pc:docMk/>
            <pc:sldMk cId="4177534758" sldId="4094"/>
            <ac:spMk id="27" creationId="{B8FD81D4-57FF-0C49-ADAD-751F6CAA3E61}"/>
          </ac:spMkLst>
        </pc:spChg>
        <pc:spChg chg="mod">
          <ac:chgData name="Hafiz Muhammad Salman" userId="47f5b1ff-37b9-4dd0-a37a-3bc5aec52fa1" providerId="ADAL" clId="{1D0D03E3-3226-4873-A599-0FE1608CAE58}" dt="2024-09-10T14:49:47.059" v="17" actId="790"/>
          <ac:spMkLst>
            <pc:docMk/>
            <pc:sldMk cId="4177534758" sldId="4094"/>
            <ac:spMk id="29" creationId="{5B51EB5D-95B5-634E-8ED9-296665CDDA00}"/>
          </ac:spMkLst>
        </pc:spChg>
        <pc:spChg chg="mod">
          <ac:chgData name="Hafiz Muhammad Salman" userId="47f5b1ff-37b9-4dd0-a37a-3bc5aec52fa1" providerId="ADAL" clId="{1D0D03E3-3226-4873-A599-0FE1608CAE58}" dt="2024-09-10T14:49:47.059" v="15" actId="790"/>
          <ac:spMkLst>
            <pc:docMk/>
            <pc:sldMk cId="4177534758" sldId="4094"/>
            <ac:spMk id="30" creationId="{BC185770-B39C-284A-AB91-953F5858DD20}"/>
          </ac:spMkLst>
        </pc:spChg>
        <pc:spChg chg="mod">
          <ac:chgData name="Hafiz Muhammad Salman" userId="47f5b1ff-37b9-4dd0-a37a-3bc5aec52fa1" providerId="ADAL" clId="{1D0D03E3-3226-4873-A599-0FE1608CAE58}" dt="2024-09-10T14:49:47.059" v="16" actId="790"/>
          <ac:spMkLst>
            <pc:docMk/>
            <pc:sldMk cId="4177534758" sldId="4094"/>
            <ac:spMk id="31" creationId="{CB3EDE91-C8EC-744C-97FD-968DAC7FB05C}"/>
          </ac:spMkLst>
        </pc:spChg>
        <pc:spChg chg="mod">
          <ac:chgData name="Hafiz Muhammad Salman" userId="47f5b1ff-37b9-4dd0-a37a-3bc5aec52fa1" providerId="ADAL" clId="{1D0D03E3-3226-4873-A599-0FE1608CAE58}" dt="2024-09-10T14:49:47.059" v="18" actId="790"/>
          <ac:spMkLst>
            <pc:docMk/>
            <pc:sldMk cId="4177534758" sldId="4094"/>
            <ac:spMk id="42" creationId="{2931D1CB-279D-EC48-9B31-4CB68A64ADDD}"/>
          </ac:spMkLst>
        </pc:spChg>
        <pc:spChg chg="mod">
          <ac:chgData name="Hafiz Muhammad Salman" userId="47f5b1ff-37b9-4dd0-a37a-3bc5aec52fa1" providerId="ADAL" clId="{1D0D03E3-3226-4873-A599-0FE1608CAE58}" dt="2024-09-10T14:49:47.059" v="19" actId="790"/>
          <ac:spMkLst>
            <pc:docMk/>
            <pc:sldMk cId="4177534758" sldId="4094"/>
            <ac:spMk id="43" creationId="{3A24BCEB-8CF8-5C45-AB65-9000DF190BCA}"/>
          </ac:spMkLst>
        </pc:spChg>
        <pc:spChg chg="mod">
          <ac:chgData name="Hafiz Muhammad Salman" userId="47f5b1ff-37b9-4dd0-a37a-3bc5aec52fa1" providerId="ADAL" clId="{1D0D03E3-3226-4873-A599-0FE1608CAE58}" dt="2024-09-10T14:49:47.059" v="20" actId="790"/>
          <ac:spMkLst>
            <pc:docMk/>
            <pc:sldMk cId="4177534758" sldId="4094"/>
            <ac:spMk id="44" creationId="{54E684DC-E2C2-2C44-B253-AF9A16C6E9F0}"/>
          </ac:spMkLst>
        </pc:spChg>
      </pc:sldChg>
      <pc:sldChg chg="addSp delSp modSp add mod ord">
        <pc:chgData name="Hafiz Muhammad Salman" userId="47f5b1ff-37b9-4dd0-a37a-3bc5aec52fa1" providerId="ADAL" clId="{1D0D03E3-3226-4873-A599-0FE1608CAE58}" dt="2024-09-11T13:22:33.405" v="2613"/>
        <pc:sldMkLst>
          <pc:docMk/>
          <pc:sldMk cId="1665178623" sldId="4095"/>
        </pc:sldMkLst>
        <pc:spChg chg="add del mod">
          <ac:chgData name="Hafiz Muhammad Salman" userId="47f5b1ff-37b9-4dd0-a37a-3bc5aec52fa1" providerId="ADAL" clId="{1D0D03E3-3226-4873-A599-0FE1608CAE58}" dt="2024-09-10T14:51:19.616" v="65" actId="478"/>
          <ac:spMkLst>
            <pc:docMk/>
            <pc:sldMk cId="1665178623" sldId="4095"/>
            <ac:spMk id="5" creationId="{6EAE0D65-5F6F-BF19-98D7-6EA03B137CD6}"/>
          </ac:spMkLst>
        </pc:spChg>
        <pc:spChg chg="mod">
          <ac:chgData name="Hafiz Muhammad Salman" userId="47f5b1ff-37b9-4dd0-a37a-3bc5aec52fa1" providerId="ADAL" clId="{1D0D03E3-3226-4873-A599-0FE1608CAE58}" dt="2024-09-10T14:52:55.228" v="122" actId="20577"/>
          <ac:spMkLst>
            <pc:docMk/>
            <pc:sldMk cId="1665178623" sldId="4095"/>
            <ac:spMk id="7" creationId="{E583A575-14BC-4D78-85C2-D778E1BC6220}"/>
          </ac:spMkLst>
        </pc:spChg>
        <pc:spChg chg="mod">
          <ac:chgData name="Hafiz Muhammad Salman" userId="47f5b1ff-37b9-4dd0-a37a-3bc5aec52fa1" providerId="ADAL" clId="{1D0D03E3-3226-4873-A599-0FE1608CAE58}" dt="2024-09-10T14:52:33.572" v="98" actId="20577"/>
          <ac:spMkLst>
            <pc:docMk/>
            <pc:sldMk cId="1665178623" sldId="4095"/>
            <ac:spMk id="10" creationId="{1577DB51-9EA8-41A1-81A4-8E3ABE0D1E17}"/>
          </ac:spMkLst>
        </pc:spChg>
        <pc:spChg chg="mod">
          <ac:chgData name="Hafiz Muhammad Salman" userId="47f5b1ff-37b9-4dd0-a37a-3bc5aec52fa1" providerId="ADAL" clId="{1D0D03E3-3226-4873-A599-0FE1608CAE58}" dt="2024-09-10T14:52:44.533" v="120" actId="20577"/>
          <ac:spMkLst>
            <pc:docMk/>
            <pc:sldMk cId="1665178623" sldId="4095"/>
            <ac:spMk id="11" creationId="{3FC19C43-4C54-44D2-99F9-256DE74B3CDF}"/>
          </ac:spMkLst>
        </pc:spChg>
        <pc:picChg chg="del">
          <ac:chgData name="Hafiz Muhammad Salman" userId="47f5b1ff-37b9-4dd0-a37a-3bc5aec52fa1" providerId="ADAL" clId="{1D0D03E3-3226-4873-A599-0FE1608CAE58}" dt="2024-09-10T14:51:11.635" v="64" actId="478"/>
          <ac:picMkLst>
            <pc:docMk/>
            <pc:sldMk cId="1665178623" sldId="4095"/>
            <ac:picMk id="3" creationId="{32ED6E86-8495-19AD-A449-4DD062AFDA80}"/>
          </ac:picMkLst>
        </pc:picChg>
      </pc:sldChg>
      <pc:sldChg chg="modSp del mod">
        <pc:chgData name="Hafiz Muhammad Salman" userId="47f5b1ff-37b9-4dd0-a37a-3bc5aec52fa1" providerId="ADAL" clId="{1D0D03E3-3226-4873-A599-0FE1608CAE58}" dt="2024-09-10T14:49:58.037" v="62" actId="2696"/>
        <pc:sldMkLst>
          <pc:docMk/>
          <pc:sldMk cId="2914128666" sldId="4095"/>
        </pc:sldMkLst>
        <pc:spChg chg="mod">
          <ac:chgData name="Hafiz Muhammad Salman" userId="47f5b1ff-37b9-4dd0-a37a-3bc5aec52fa1" providerId="ADAL" clId="{1D0D03E3-3226-4873-A599-0FE1608CAE58}" dt="2024-09-10T14:49:48.118" v="54" actId="790"/>
          <ac:spMkLst>
            <pc:docMk/>
            <pc:sldMk cId="2914128666" sldId="4095"/>
            <ac:spMk id="4" creationId="{B508DAAD-C52C-D542-9CA4-6FCEED78C7A0}"/>
          </ac:spMkLst>
        </pc:spChg>
        <pc:spChg chg="mod">
          <ac:chgData name="Hafiz Muhammad Salman" userId="47f5b1ff-37b9-4dd0-a37a-3bc5aec52fa1" providerId="ADAL" clId="{1D0D03E3-3226-4873-A599-0FE1608CAE58}" dt="2024-09-10T14:49:48.102" v="45" actId="790"/>
          <ac:spMkLst>
            <pc:docMk/>
            <pc:sldMk cId="2914128666" sldId="4095"/>
            <ac:spMk id="5" creationId="{EBA26DC8-B0D3-A145-8BF3-17E04FC238CE}"/>
          </ac:spMkLst>
        </pc:spChg>
        <pc:spChg chg="mod">
          <ac:chgData name="Hafiz Muhammad Salman" userId="47f5b1ff-37b9-4dd0-a37a-3bc5aec52fa1" providerId="ADAL" clId="{1D0D03E3-3226-4873-A599-0FE1608CAE58}" dt="2024-09-10T14:49:48.102" v="44" actId="790"/>
          <ac:spMkLst>
            <pc:docMk/>
            <pc:sldMk cId="2914128666" sldId="4095"/>
            <ac:spMk id="6" creationId="{04C809F5-9DDA-CC45-8FFA-8DD02FF671C2}"/>
          </ac:spMkLst>
        </pc:spChg>
        <pc:spChg chg="mod">
          <ac:chgData name="Hafiz Muhammad Salman" userId="47f5b1ff-37b9-4dd0-a37a-3bc5aec52fa1" providerId="ADAL" clId="{1D0D03E3-3226-4873-A599-0FE1608CAE58}" dt="2024-09-10T14:49:48.102" v="46" actId="790"/>
          <ac:spMkLst>
            <pc:docMk/>
            <pc:sldMk cId="2914128666" sldId="4095"/>
            <ac:spMk id="7" creationId="{D9C6D277-B564-BE4C-B20B-7B072FE7CD75}"/>
          </ac:spMkLst>
        </pc:spChg>
        <pc:spChg chg="mod">
          <ac:chgData name="Hafiz Muhammad Salman" userId="47f5b1ff-37b9-4dd0-a37a-3bc5aec52fa1" providerId="ADAL" clId="{1D0D03E3-3226-4873-A599-0FE1608CAE58}" dt="2024-09-10T14:49:48.102" v="42" actId="790"/>
          <ac:spMkLst>
            <pc:docMk/>
            <pc:sldMk cId="2914128666" sldId="4095"/>
            <ac:spMk id="8" creationId="{D4982988-54F2-9940-9B61-364FF9C74049}"/>
          </ac:spMkLst>
        </pc:spChg>
        <pc:spChg chg="mod">
          <ac:chgData name="Hafiz Muhammad Salman" userId="47f5b1ff-37b9-4dd0-a37a-3bc5aec52fa1" providerId="ADAL" clId="{1D0D03E3-3226-4873-A599-0FE1608CAE58}" dt="2024-09-10T14:49:48.102" v="47" actId="790"/>
          <ac:spMkLst>
            <pc:docMk/>
            <pc:sldMk cId="2914128666" sldId="4095"/>
            <ac:spMk id="9" creationId="{DA714DBE-902C-E940-8DCF-89658F8B178C}"/>
          </ac:spMkLst>
        </pc:spChg>
        <pc:spChg chg="mod">
          <ac:chgData name="Hafiz Muhammad Salman" userId="47f5b1ff-37b9-4dd0-a37a-3bc5aec52fa1" providerId="ADAL" clId="{1D0D03E3-3226-4873-A599-0FE1608CAE58}" dt="2024-09-10T14:49:48.102" v="43" actId="790"/>
          <ac:spMkLst>
            <pc:docMk/>
            <pc:sldMk cId="2914128666" sldId="4095"/>
            <ac:spMk id="10" creationId="{BCA7A770-C5B1-BD4F-8CC8-1F70F194814D}"/>
          </ac:spMkLst>
        </pc:spChg>
        <pc:spChg chg="mod">
          <ac:chgData name="Hafiz Muhammad Salman" userId="47f5b1ff-37b9-4dd0-a37a-3bc5aec52fa1" providerId="ADAL" clId="{1D0D03E3-3226-4873-A599-0FE1608CAE58}" dt="2024-09-10T14:49:48.118" v="55" actId="790"/>
          <ac:spMkLst>
            <pc:docMk/>
            <pc:sldMk cId="2914128666" sldId="4095"/>
            <ac:spMk id="11" creationId="{D5138CCB-DACE-F94E-87FA-042B8E456A9F}"/>
          </ac:spMkLst>
        </pc:spChg>
        <pc:spChg chg="mod">
          <ac:chgData name="Hafiz Muhammad Salman" userId="47f5b1ff-37b9-4dd0-a37a-3bc5aec52fa1" providerId="ADAL" clId="{1D0D03E3-3226-4873-A599-0FE1608CAE58}" dt="2024-09-10T14:49:48.118" v="48" actId="790"/>
          <ac:spMkLst>
            <pc:docMk/>
            <pc:sldMk cId="2914128666" sldId="4095"/>
            <ac:spMk id="17" creationId="{B55914AD-78E2-724D-865D-01E32493D89B}"/>
          </ac:spMkLst>
        </pc:spChg>
        <pc:spChg chg="mod">
          <ac:chgData name="Hafiz Muhammad Salman" userId="47f5b1ff-37b9-4dd0-a37a-3bc5aec52fa1" providerId="ADAL" clId="{1D0D03E3-3226-4873-A599-0FE1608CAE58}" dt="2024-09-10T14:49:48.118" v="49" actId="790"/>
          <ac:spMkLst>
            <pc:docMk/>
            <pc:sldMk cId="2914128666" sldId="4095"/>
            <ac:spMk id="18" creationId="{3D35F0F1-5C22-A748-89BF-4095EF4852FD}"/>
          </ac:spMkLst>
        </pc:spChg>
        <pc:spChg chg="mod">
          <ac:chgData name="Hafiz Muhammad Salman" userId="47f5b1ff-37b9-4dd0-a37a-3bc5aec52fa1" providerId="ADAL" clId="{1D0D03E3-3226-4873-A599-0FE1608CAE58}" dt="2024-09-10T14:49:48.118" v="50" actId="790"/>
          <ac:spMkLst>
            <pc:docMk/>
            <pc:sldMk cId="2914128666" sldId="4095"/>
            <ac:spMk id="19" creationId="{EDA62382-CE68-A84A-8C2E-6B61B3430E46}"/>
          </ac:spMkLst>
        </pc:spChg>
        <pc:spChg chg="mod">
          <ac:chgData name="Hafiz Muhammad Salman" userId="47f5b1ff-37b9-4dd0-a37a-3bc5aec52fa1" providerId="ADAL" clId="{1D0D03E3-3226-4873-A599-0FE1608CAE58}" dt="2024-09-10T14:49:48.118" v="51" actId="790"/>
          <ac:spMkLst>
            <pc:docMk/>
            <pc:sldMk cId="2914128666" sldId="4095"/>
            <ac:spMk id="21" creationId="{188F8F43-269A-AB41-B2CB-DA13DA6AF36A}"/>
          </ac:spMkLst>
        </pc:spChg>
        <pc:spChg chg="mod">
          <ac:chgData name="Hafiz Muhammad Salman" userId="47f5b1ff-37b9-4dd0-a37a-3bc5aec52fa1" providerId="ADAL" clId="{1D0D03E3-3226-4873-A599-0FE1608CAE58}" dt="2024-09-10T14:49:48.118" v="52" actId="790"/>
          <ac:spMkLst>
            <pc:docMk/>
            <pc:sldMk cId="2914128666" sldId="4095"/>
            <ac:spMk id="23" creationId="{E8E931CF-91BF-CC48-9236-06F896010A3E}"/>
          </ac:spMkLst>
        </pc:spChg>
        <pc:spChg chg="mod">
          <ac:chgData name="Hafiz Muhammad Salman" userId="47f5b1ff-37b9-4dd0-a37a-3bc5aec52fa1" providerId="ADAL" clId="{1D0D03E3-3226-4873-A599-0FE1608CAE58}" dt="2024-09-10T14:49:48.118" v="53" actId="790"/>
          <ac:spMkLst>
            <pc:docMk/>
            <pc:sldMk cId="2914128666" sldId="4095"/>
            <ac:spMk id="25" creationId="{86FA38AF-645D-9342-97FA-2F1C906C45D9}"/>
          </ac:spMkLst>
        </pc:spChg>
        <pc:spChg chg="mod">
          <ac:chgData name="Hafiz Muhammad Salman" userId="47f5b1ff-37b9-4dd0-a37a-3bc5aec52fa1" providerId="ADAL" clId="{1D0D03E3-3226-4873-A599-0FE1608CAE58}" dt="2024-09-10T14:49:48.118" v="56" actId="790"/>
          <ac:spMkLst>
            <pc:docMk/>
            <pc:sldMk cId="2914128666" sldId="4095"/>
            <ac:spMk id="27" creationId="{65B955AE-BB53-BA40-B11D-D811EBF833AF}"/>
          </ac:spMkLst>
        </pc:spChg>
        <pc:spChg chg="mod">
          <ac:chgData name="Hafiz Muhammad Salman" userId="47f5b1ff-37b9-4dd0-a37a-3bc5aec52fa1" providerId="ADAL" clId="{1D0D03E3-3226-4873-A599-0FE1608CAE58}" dt="2024-09-10T14:49:48.118" v="57" actId="790"/>
          <ac:spMkLst>
            <pc:docMk/>
            <pc:sldMk cId="2914128666" sldId="4095"/>
            <ac:spMk id="29" creationId="{3AAF4ED8-EE8B-274C-B892-77589324E8A2}"/>
          </ac:spMkLst>
        </pc:spChg>
        <pc:spChg chg="mod">
          <ac:chgData name="Hafiz Muhammad Salman" userId="47f5b1ff-37b9-4dd0-a37a-3bc5aec52fa1" providerId="ADAL" clId="{1D0D03E3-3226-4873-A599-0FE1608CAE58}" dt="2024-09-10T14:49:48.102" v="41" actId="790"/>
          <ac:spMkLst>
            <pc:docMk/>
            <pc:sldMk cId="2914128666" sldId="4095"/>
            <ac:spMk id="31" creationId="{A9E7A46A-EE9E-7045-A9E2-D25AC0A9CBBF}"/>
          </ac:spMkLst>
        </pc:spChg>
        <pc:spChg chg="mod">
          <ac:chgData name="Hafiz Muhammad Salman" userId="47f5b1ff-37b9-4dd0-a37a-3bc5aec52fa1" providerId="ADAL" clId="{1D0D03E3-3226-4873-A599-0FE1608CAE58}" dt="2024-09-10T14:49:48.118" v="58" actId="790"/>
          <ac:spMkLst>
            <pc:docMk/>
            <pc:sldMk cId="2914128666" sldId="4095"/>
            <ac:spMk id="32" creationId="{9CE2D950-C5F2-F749-8E4B-D9BDB96062CE}"/>
          </ac:spMkLst>
        </pc:spChg>
        <pc:spChg chg="mod">
          <ac:chgData name="Hafiz Muhammad Salman" userId="47f5b1ff-37b9-4dd0-a37a-3bc5aec52fa1" providerId="ADAL" clId="{1D0D03E3-3226-4873-A599-0FE1608CAE58}" dt="2024-09-10T14:49:48.118" v="59" actId="790"/>
          <ac:spMkLst>
            <pc:docMk/>
            <pc:sldMk cId="2914128666" sldId="4095"/>
            <ac:spMk id="33" creationId="{54367377-CFAD-144B-AB1A-FB35DB556370}"/>
          </ac:spMkLst>
        </pc:spChg>
        <pc:spChg chg="mod">
          <ac:chgData name="Hafiz Muhammad Salman" userId="47f5b1ff-37b9-4dd0-a37a-3bc5aec52fa1" providerId="ADAL" clId="{1D0D03E3-3226-4873-A599-0FE1608CAE58}" dt="2024-09-10T14:49:48.118" v="60" actId="790"/>
          <ac:spMkLst>
            <pc:docMk/>
            <pc:sldMk cId="2914128666" sldId="4095"/>
            <ac:spMk id="34" creationId="{A5475561-4D95-A441-BC57-542BC1D8BCAB}"/>
          </ac:spMkLst>
        </pc:spChg>
        <pc:spChg chg="mod">
          <ac:chgData name="Hafiz Muhammad Salman" userId="47f5b1ff-37b9-4dd0-a37a-3bc5aec52fa1" providerId="ADAL" clId="{1D0D03E3-3226-4873-A599-0FE1608CAE58}" dt="2024-09-10T14:49:48.118" v="61" actId="790"/>
          <ac:spMkLst>
            <pc:docMk/>
            <pc:sldMk cId="2914128666" sldId="4095"/>
            <ac:spMk id="35" creationId="{A551E176-4014-054A-BF4E-203D867E2BD5}"/>
          </ac:spMkLst>
        </pc:spChg>
      </pc:sldChg>
      <pc:sldChg chg="modSp del mod">
        <pc:chgData name="Hafiz Muhammad Salman" userId="47f5b1ff-37b9-4dd0-a37a-3bc5aec52fa1" providerId="ADAL" clId="{1D0D03E3-3226-4873-A599-0FE1608CAE58}" dt="2024-09-11T12:53:54.281" v="2233" actId="47"/>
        <pc:sldMkLst>
          <pc:docMk/>
          <pc:sldMk cId="3541989862" sldId="4096"/>
        </pc:sldMkLst>
        <pc:spChg chg="mod">
          <ac:chgData name="Hafiz Muhammad Salman" userId="47f5b1ff-37b9-4dd0-a37a-3bc5aec52fa1" providerId="ADAL" clId="{1D0D03E3-3226-4873-A599-0FE1608CAE58}" dt="2024-09-10T15:29:37.796" v="178" actId="790"/>
          <ac:spMkLst>
            <pc:docMk/>
            <pc:sldMk cId="3541989862" sldId="4096"/>
            <ac:spMk id="5" creationId="{9F6D4E0B-BC0C-CE43-8999-A8A5378D7242}"/>
          </ac:spMkLst>
        </pc:spChg>
        <pc:spChg chg="mod">
          <ac:chgData name="Hafiz Muhammad Salman" userId="47f5b1ff-37b9-4dd0-a37a-3bc5aec52fa1" providerId="ADAL" clId="{1D0D03E3-3226-4873-A599-0FE1608CAE58}" dt="2024-09-10T15:29:37.796" v="179" actId="790"/>
          <ac:spMkLst>
            <pc:docMk/>
            <pc:sldMk cId="3541989862" sldId="4096"/>
            <ac:spMk id="6" creationId="{C940DDA4-9F33-6F49-9D3A-9D888903A03E}"/>
          </ac:spMkLst>
        </pc:spChg>
        <pc:spChg chg="mod">
          <ac:chgData name="Hafiz Muhammad Salman" userId="47f5b1ff-37b9-4dd0-a37a-3bc5aec52fa1" providerId="ADAL" clId="{1D0D03E3-3226-4873-A599-0FE1608CAE58}" dt="2024-09-10T15:29:37.796" v="180" actId="790"/>
          <ac:spMkLst>
            <pc:docMk/>
            <pc:sldMk cId="3541989862" sldId="4096"/>
            <ac:spMk id="10" creationId="{FD6277DC-FCE5-BF41-988B-A9013A6523BE}"/>
          </ac:spMkLst>
        </pc:spChg>
        <pc:spChg chg="mod">
          <ac:chgData name="Hafiz Muhammad Salman" userId="47f5b1ff-37b9-4dd0-a37a-3bc5aec52fa1" providerId="ADAL" clId="{1D0D03E3-3226-4873-A599-0FE1608CAE58}" dt="2024-09-10T15:29:37.796" v="181" actId="790"/>
          <ac:spMkLst>
            <pc:docMk/>
            <pc:sldMk cId="3541989862" sldId="4096"/>
            <ac:spMk id="11" creationId="{EA4C4022-98F3-B24D-8561-AB8CD054D20C}"/>
          </ac:spMkLst>
        </pc:spChg>
        <pc:spChg chg="mod">
          <ac:chgData name="Hafiz Muhammad Salman" userId="47f5b1ff-37b9-4dd0-a37a-3bc5aec52fa1" providerId="ADAL" clId="{1D0D03E3-3226-4873-A599-0FE1608CAE58}" dt="2024-09-10T15:29:37.796" v="182" actId="790"/>
          <ac:spMkLst>
            <pc:docMk/>
            <pc:sldMk cId="3541989862" sldId="4096"/>
            <ac:spMk id="14" creationId="{F7F0536E-391E-0149-B6BF-32974FB6C959}"/>
          </ac:spMkLst>
        </pc:spChg>
        <pc:spChg chg="mod">
          <ac:chgData name="Hafiz Muhammad Salman" userId="47f5b1ff-37b9-4dd0-a37a-3bc5aec52fa1" providerId="ADAL" clId="{1D0D03E3-3226-4873-A599-0FE1608CAE58}" dt="2024-09-10T15:29:37.796" v="183" actId="790"/>
          <ac:spMkLst>
            <pc:docMk/>
            <pc:sldMk cId="3541989862" sldId="4096"/>
            <ac:spMk id="15" creationId="{AEC437FF-B4B7-FA47-B2CF-59EE77065D29}"/>
          </ac:spMkLst>
        </pc:spChg>
        <pc:spChg chg="mod">
          <ac:chgData name="Hafiz Muhammad Salman" userId="47f5b1ff-37b9-4dd0-a37a-3bc5aec52fa1" providerId="ADAL" clId="{1D0D03E3-3226-4873-A599-0FE1608CAE58}" dt="2024-09-10T15:29:37.796" v="184" actId="790"/>
          <ac:spMkLst>
            <pc:docMk/>
            <pc:sldMk cId="3541989862" sldId="4096"/>
            <ac:spMk id="16" creationId="{4174C2BB-6497-094F-8A6C-9315838768E3}"/>
          </ac:spMkLst>
        </pc:spChg>
        <pc:spChg chg="mod">
          <ac:chgData name="Hafiz Muhammad Salman" userId="47f5b1ff-37b9-4dd0-a37a-3bc5aec52fa1" providerId="ADAL" clId="{1D0D03E3-3226-4873-A599-0FE1608CAE58}" dt="2024-09-10T15:29:37.796" v="185" actId="790"/>
          <ac:spMkLst>
            <pc:docMk/>
            <pc:sldMk cId="3541989862" sldId="4096"/>
            <ac:spMk id="17" creationId="{7DD606FE-2CF0-4342-B9F2-49FCC1967B8C}"/>
          </ac:spMkLst>
        </pc:spChg>
        <pc:spChg chg="mod">
          <ac:chgData name="Hafiz Muhammad Salman" userId="47f5b1ff-37b9-4dd0-a37a-3bc5aec52fa1" providerId="ADAL" clId="{1D0D03E3-3226-4873-A599-0FE1608CAE58}" dt="2024-09-10T15:29:37.812" v="186" actId="790"/>
          <ac:spMkLst>
            <pc:docMk/>
            <pc:sldMk cId="3541989862" sldId="4096"/>
            <ac:spMk id="19" creationId="{96B7FF66-FBD8-FD42-864D-3C298F850C97}"/>
          </ac:spMkLst>
        </pc:spChg>
        <pc:spChg chg="mod">
          <ac:chgData name="Hafiz Muhammad Salman" userId="47f5b1ff-37b9-4dd0-a37a-3bc5aec52fa1" providerId="ADAL" clId="{1D0D03E3-3226-4873-A599-0FE1608CAE58}" dt="2024-09-10T15:29:37.812" v="187" actId="790"/>
          <ac:spMkLst>
            <pc:docMk/>
            <pc:sldMk cId="3541989862" sldId="4096"/>
            <ac:spMk id="20" creationId="{CED6F830-FB0A-B64D-93E8-02973A14917C}"/>
          </ac:spMkLst>
        </pc:spChg>
        <pc:spChg chg="mod">
          <ac:chgData name="Hafiz Muhammad Salman" userId="47f5b1ff-37b9-4dd0-a37a-3bc5aec52fa1" providerId="ADAL" clId="{1D0D03E3-3226-4873-A599-0FE1608CAE58}" dt="2024-09-10T15:29:37.812" v="188" actId="790"/>
          <ac:spMkLst>
            <pc:docMk/>
            <pc:sldMk cId="3541989862" sldId="4096"/>
            <ac:spMk id="22" creationId="{A26E2FCE-66EB-DD47-A196-7A73816AE201}"/>
          </ac:spMkLst>
        </pc:spChg>
        <pc:spChg chg="mod">
          <ac:chgData name="Hafiz Muhammad Salman" userId="47f5b1ff-37b9-4dd0-a37a-3bc5aec52fa1" providerId="ADAL" clId="{1D0D03E3-3226-4873-A599-0FE1608CAE58}" dt="2024-09-10T15:29:37.812" v="189" actId="790"/>
          <ac:spMkLst>
            <pc:docMk/>
            <pc:sldMk cId="3541989862" sldId="4096"/>
            <ac:spMk id="23" creationId="{30C2F0E5-382C-1B4D-BDC2-3D230200B50D}"/>
          </ac:spMkLst>
        </pc:spChg>
        <pc:spChg chg="mod">
          <ac:chgData name="Hafiz Muhammad Salman" userId="47f5b1ff-37b9-4dd0-a37a-3bc5aec52fa1" providerId="ADAL" clId="{1D0D03E3-3226-4873-A599-0FE1608CAE58}" dt="2024-09-10T15:29:37.812" v="190" actId="790"/>
          <ac:spMkLst>
            <pc:docMk/>
            <pc:sldMk cId="3541989862" sldId="4096"/>
            <ac:spMk id="24" creationId="{EB5D6B99-8EC8-2C49-8E45-F47818A26D81}"/>
          </ac:spMkLst>
        </pc:spChg>
        <pc:spChg chg="mod">
          <ac:chgData name="Hafiz Muhammad Salman" userId="47f5b1ff-37b9-4dd0-a37a-3bc5aec52fa1" providerId="ADAL" clId="{1D0D03E3-3226-4873-A599-0FE1608CAE58}" dt="2024-09-10T15:29:37.812" v="191" actId="790"/>
          <ac:spMkLst>
            <pc:docMk/>
            <pc:sldMk cId="3541989862" sldId="4096"/>
            <ac:spMk id="25" creationId="{8A30D42E-007F-A44E-A573-69E9A658764B}"/>
          </ac:spMkLst>
        </pc:spChg>
        <pc:spChg chg="mod">
          <ac:chgData name="Hafiz Muhammad Salman" userId="47f5b1ff-37b9-4dd0-a37a-3bc5aec52fa1" providerId="ADAL" clId="{1D0D03E3-3226-4873-A599-0FE1608CAE58}" dt="2024-09-10T15:29:37.812" v="192" actId="790"/>
          <ac:spMkLst>
            <pc:docMk/>
            <pc:sldMk cId="3541989862" sldId="4096"/>
            <ac:spMk id="26" creationId="{F2734587-2786-BA44-84C0-1E3074F4A827}"/>
          </ac:spMkLst>
        </pc:spChg>
        <pc:spChg chg="mod">
          <ac:chgData name="Hafiz Muhammad Salman" userId="47f5b1ff-37b9-4dd0-a37a-3bc5aec52fa1" providerId="ADAL" clId="{1D0D03E3-3226-4873-A599-0FE1608CAE58}" dt="2024-09-10T15:29:37.812" v="193" actId="790"/>
          <ac:spMkLst>
            <pc:docMk/>
            <pc:sldMk cId="3541989862" sldId="4096"/>
            <ac:spMk id="27" creationId="{D25A4903-C8B5-F746-80D7-E1D190C0FA43}"/>
          </ac:spMkLst>
        </pc:spChg>
        <pc:spChg chg="mod">
          <ac:chgData name="Hafiz Muhammad Salman" userId="47f5b1ff-37b9-4dd0-a37a-3bc5aec52fa1" providerId="ADAL" clId="{1D0D03E3-3226-4873-A599-0FE1608CAE58}" dt="2024-09-10T15:29:37.812" v="194" actId="790"/>
          <ac:spMkLst>
            <pc:docMk/>
            <pc:sldMk cId="3541989862" sldId="4096"/>
            <ac:spMk id="28" creationId="{1A169859-6A7B-9948-94C3-221724A928DC}"/>
          </ac:spMkLst>
        </pc:spChg>
        <pc:spChg chg="mod">
          <ac:chgData name="Hafiz Muhammad Salman" userId="47f5b1ff-37b9-4dd0-a37a-3bc5aec52fa1" providerId="ADAL" clId="{1D0D03E3-3226-4873-A599-0FE1608CAE58}" dt="2024-09-10T15:29:37.812" v="195" actId="790"/>
          <ac:spMkLst>
            <pc:docMk/>
            <pc:sldMk cId="3541989862" sldId="4096"/>
            <ac:spMk id="29" creationId="{BD6C88E8-B581-4343-854C-0074A8B7ACF4}"/>
          </ac:spMkLst>
        </pc:spChg>
        <pc:spChg chg="mod">
          <ac:chgData name="Hafiz Muhammad Salman" userId="47f5b1ff-37b9-4dd0-a37a-3bc5aec52fa1" providerId="ADAL" clId="{1D0D03E3-3226-4873-A599-0FE1608CAE58}" dt="2024-09-10T15:29:37.812" v="196" actId="790"/>
          <ac:spMkLst>
            <pc:docMk/>
            <pc:sldMk cId="3541989862" sldId="4096"/>
            <ac:spMk id="30" creationId="{492F6E52-022F-5B43-A7D2-6EF3187B66F4}"/>
          </ac:spMkLst>
        </pc:spChg>
        <pc:spChg chg="mod">
          <ac:chgData name="Hafiz Muhammad Salman" userId="47f5b1ff-37b9-4dd0-a37a-3bc5aec52fa1" providerId="ADAL" clId="{1D0D03E3-3226-4873-A599-0FE1608CAE58}" dt="2024-09-10T15:29:37.812" v="197" actId="790"/>
          <ac:spMkLst>
            <pc:docMk/>
            <pc:sldMk cId="3541989862" sldId="4096"/>
            <ac:spMk id="31" creationId="{AB953777-9FF3-E24B-B86A-8204764948F8}"/>
          </ac:spMkLst>
        </pc:spChg>
        <pc:spChg chg="mod">
          <ac:chgData name="Hafiz Muhammad Salman" userId="47f5b1ff-37b9-4dd0-a37a-3bc5aec52fa1" providerId="ADAL" clId="{1D0D03E3-3226-4873-A599-0FE1608CAE58}" dt="2024-09-10T15:29:37.812" v="198" actId="790"/>
          <ac:spMkLst>
            <pc:docMk/>
            <pc:sldMk cId="3541989862" sldId="4096"/>
            <ac:spMk id="32" creationId="{4D9AD02F-BCC9-6C4F-A674-F560E2E50DB9}"/>
          </ac:spMkLst>
        </pc:spChg>
        <pc:spChg chg="mod">
          <ac:chgData name="Hafiz Muhammad Salman" userId="47f5b1ff-37b9-4dd0-a37a-3bc5aec52fa1" providerId="ADAL" clId="{1D0D03E3-3226-4873-A599-0FE1608CAE58}" dt="2024-09-10T15:29:37.812" v="199" actId="790"/>
          <ac:spMkLst>
            <pc:docMk/>
            <pc:sldMk cId="3541989862" sldId="4096"/>
            <ac:spMk id="33" creationId="{38921088-A55B-9F41-8D26-BD40863A840C}"/>
          </ac:spMkLst>
        </pc:spChg>
      </pc:sldChg>
      <pc:sldChg chg="modSp del mod">
        <pc:chgData name="Hafiz Muhammad Salman" userId="47f5b1ff-37b9-4dd0-a37a-3bc5aec52fa1" providerId="ADAL" clId="{1D0D03E3-3226-4873-A599-0FE1608CAE58}" dt="2024-09-11T12:53:51.898" v="2232" actId="47"/>
        <pc:sldMkLst>
          <pc:docMk/>
          <pc:sldMk cId="2092352750" sldId="4097"/>
        </pc:sldMkLst>
        <pc:spChg chg="mod">
          <ac:chgData name="Hafiz Muhammad Salman" userId="47f5b1ff-37b9-4dd0-a37a-3bc5aec52fa1" providerId="ADAL" clId="{1D0D03E3-3226-4873-A599-0FE1608CAE58}" dt="2024-09-10T15:29:38.278" v="212" actId="790"/>
          <ac:spMkLst>
            <pc:docMk/>
            <pc:sldMk cId="2092352750" sldId="4097"/>
            <ac:spMk id="8" creationId="{A919E2EC-D9F9-7743-9E3C-530089EA45D2}"/>
          </ac:spMkLst>
        </pc:spChg>
        <pc:spChg chg="mod">
          <ac:chgData name="Hafiz Muhammad Salman" userId="47f5b1ff-37b9-4dd0-a37a-3bc5aec52fa1" providerId="ADAL" clId="{1D0D03E3-3226-4873-A599-0FE1608CAE58}" dt="2024-09-10T15:29:38.278" v="213" actId="790"/>
          <ac:spMkLst>
            <pc:docMk/>
            <pc:sldMk cId="2092352750" sldId="4097"/>
            <ac:spMk id="9" creationId="{F7817401-37AF-F448-BFA8-2F085E0D71DD}"/>
          </ac:spMkLst>
        </pc:spChg>
        <pc:spChg chg="mod">
          <ac:chgData name="Hafiz Muhammad Salman" userId="47f5b1ff-37b9-4dd0-a37a-3bc5aec52fa1" providerId="ADAL" clId="{1D0D03E3-3226-4873-A599-0FE1608CAE58}" dt="2024-09-10T15:29:38.278" v="214" actId="790"/>
          <ac:spMkLst>
            <pc:docMk/>
            <pc:sldMk cId="2092352750" sldId="4097"/>
            <ac:spMk id="10" creationId="{162940F0-1941-5541-90EA-C3F4A1D8CF64}"/>
          </ac:spMkLst>
        </pc:spChg>
        <pc:spChg chg="mod">
          <ac:chgData name="Hafiz Muhammad Salman" userId="47f5b1ff-37b9-4dd0-a37a-3bc5aec52fa1" providerId="ADAL" clId="{1D0D03E3-3226-4873-A599-0FE1608CAE58}" dt="2024-09-10T15:29:38.278" v="215" actId="790"/>
          <ac:spMkLst>
            <pc:docMk/>
            <pc:sldMk cId="2092352750" sldId="4097"/>
            <ac:spMk id="11" creationId="{51307D44-3A8E-7349-821F-B90F56C4E468}"/>
          </ac:spMkLst>
        </pc:spChg>
        <pc:spChg chg="mod">
          <ac:chgData name="Hafiz Muhammad Salman" userId="47f5b1ff-37b9-4dd0-a37a-3bc5aec52fa1" providerId="ADAL" clId="{1D0D03E3-3226-4873-A599-0FE1608CAE58}" dt="2024-09-10T15:29:38.278" v="206" actId="790"/>
          <ac:spMkLst>
            <pc:docMk/>
            <pc:sldMk cId="2092352750" sldId="4097"/>
            <ac:spMk id="12" creationId="{B5F96F8F-FB62-674B-A694-1B62FAE16DF5}"/>
          </ac:spMkLst>
        </pc:spChg>
        <pc:spChg chg="mod">
          <ac:chgData name="Hafiz Muhammad Salman" userId="47f5b1ff-37b9-4dd0-a37a-3bc5aec52fa1" providerId="ADAL" clId="{1D0D03E3-3226-4873-A599-0FE1608CAE58}" dt="2024-09-10T15:29:38.278" v="209" actId="790"/>
          <ac:spMkLst>
            <pc:docMk/>
            <pc:sldMk cId="2092352750" sldId="4097"/>
            <ac:spMk id="14" creationId="{2EF18E48-2148-2442-A046-7441AB4562F3}"/>
          </ac:spMkLst>
        </pc:spChg>
        <pc:spChg chg="mod">
          <ac:chgData name="Hafiz Muhammad Salman" userId="47f5b1ff-37b9-4dd0-a37a-3bc5aec52fa1" providerId="ADAL" clId="{1D0D03E3-3226-4873-A599-0FE1608CAE58}" dt="2024-09-10T15:29:38.278" v="210" actId="790"/>
          <ac:spMkLst>
            <pc:docMk/>
            <pc:sldMk cId="2092352750" sldId="4097"/>
            <ac:spMk id="15" creationId="{F1702BFC-3670-8D42-8F39-F5050A65D959}"/>
          </ac:spMkLst>
        </pc:spChg>
        <pc:spChg chg="mod">
          <ac:chgData name="Hafiz Muhammad Salman" userId="47f5b1ff-37b9-4dd0-a37a-3bc5aec52fa1" providerId="ADAL" clId="{1D0D03E3-3226-4873-A599-0FE1608CAE58}" dt="2024-09-10T15:29:38.278" v="211" actId="790"/>
          <ac:spMkLst>
            <pc:docMk/>
            <pc:sldMk cId="2092352750" sldId="4097"/>
            <ac:spMk id="16" creationId="{C9F2F24D-8025-224E-9027-7D63FED558ED}"/>
          </ac:spMkLst>
        </pc:spChg>
        <pc:spChg chg="mod">
          <ac:chgData name="Hafiz Muhammad Salman" userId="47f5b1ff-37b9-4dd0-a37a-3bc5aec52fa1" providerId="ADAL" clId="{1D0D03E3-3226-4873-A599-0FE1608CAE58}" dt="2024-09-10T15:29:38.278" v="207" actId="790"/>
          <ac:spMkLst>
            <pc:docMk/>
            <pc:sldMk cId="2092352750" sldId="4097"/>
            <ac:spMk id="17" creationId="{342E8369-241E-1E4B-8955-0237A60F4426}"/>
          </ac:spMkLst>
        </pc:spChg>
        <pc:spChg chg="mod">
          <ac:chgData name="Hafiz Muhammad Salman" userId="47f5b1ff-37b9-4dd0-a37a-3bc5aec52fa1" providerId="ADAL" clId="{1D0D03E3-3226-4873-A599-0FE1608CAE58}" dt="2024-09-10T15:29:38.278" v="208" actId="790"/>
          <ac:spMkLst>
            <pc:docMk/>
            <pc:sldMk cId="2092352750" sldId="4097"/>
            <ac:spMk id="18" creationId="{20FB09AD-BF95-6940-A5CB-9AABE695ECEC}"/>
          </ac:spMkLst>
        </pc:spChg>
        <pc:spChg chg="mod">
          <ac:chgData name="Hafiz Muhammad Salman" userId="47f5b1ff-37b9-4dd0-a37a-3bc5aec52fa1" providerId="ADAL" clId="{1D0D03E3-3226-4873-A599-0FE1608CAE58}" dt="2024-09-10T15:29:38.278" v="203" actId="790"/>
          <ac:spMkLst>
            <pc:docMk/>
            <pc:sldMk cId="2092352750" sldId="4097"/>
            <ac:spMk id="21" creationId="{B17528D9-D36F-C44B-B87B-37E0ACF70E88}"/>
          </ac:spMkLst>
        </pc:spChg>
        <pc:spChg chg="mod">
          <ac:chgData name="Hafiz Muhammad Salman" userId="47f5b1ff-37b9-4dd0-a37a-3bc5aec52fa1" providerId="ADAL" clId="{1D0D03E3-3226-4873-A599-0FE1608CAE58}" dt="2024-09-10T15:29:38.278" v="204" actId="790"/>
          <ac:spMkLst>
            <pc:docMk/>
            <pc:sldMk cId="2092352750" sldId="4097"/>
            <ac:spMk id="23" creationId="{633CB4EC-DEB1-8642-9949-3FDAA24D351B}"/>
          </ac:spMkLst>
        </pc:spChg>
        <pc:spChg chg="mod">
          <ac:chgData name="Hafiz Muhammad Salman" userId="47f5b1ff-37b9-4dd0-a37a-3bc5aec52fa1" providerId="ADAL" clId="{1D0D03E3-3226-4873-A599-0FE1608CAE58}" dt="2024-09-10T15:29:38.278" v="205" actId="790"/>
          <ac:spMkLst>
            <pc:docMk/>
            <pc:sldMk cId="2092352750" sldId="4097"/>
            <ac:spMk id="24" creationId="{968FA1A8-3814-AB47-8396-69953501DAB8}"/>
          </ac:spMkLst>
        </pc:spChg>
        <pc:spChg chg="mod">
          <ac:chgData name="Hafiz Muhammad Salman" userId="47f5b1ff-37b9-4dd0-a37a-3bc5aec52fa1" providerId="ADAL" clId="{1D0D03E3-3226-4873-A599-0FE1608CAE58}" dt="2024-09-10T15:29:38.278" v="201" actId="790"/>
          <ac:spMkLst>
            <pc:docMk/>
            <pc:sldMk cId="2092352750" sldId="4097"/>
            <ac:spMk id="25" creationId="{E34831B0-9480-7646-B290-08BA140DE8A3}"/>
          </ac:spMkLst>
        </pc:spChg>
        <pc:spChg chg="mod">
          <ac:chgData name="Hafiz Muhammad Salman" userId="47f5b1ff-37b9-4dd0-a37a-3bc5aec52fa1" providerId="ADAL" clId="{1D0D03E3-3226-4873-A599-0FE1608CAE58}" dt="2024-09-10T15:29:38.278" v="202" actId="790"/>
          <ac:spMkLst>
            <pc:docMk/>
            <pc:sldMk cId="2092352750" sldId="4097"/>
            <ac:spMk id="26" creationId="{1189073C-0CD0-A744-B705-416B7D19BAE5}"/>
          </ac:spMkLst>
        </pc:spChg>
        <pc:spChg chg="mod">
          <ac:chgData name="Hafiz Muhammad Salman" userId="47f5b1ff-37b9-4dd0-a37a-3bc5aec52fa1" providerId="ADAL" clId="{1D0D03E3-3226-4873-A599-0FE1608CAE58}" dt="2024-09-10T15:29:38.263" v="200" actId="790"/>
          <ac:spMkLst>
            <pc:docMk/>
            <pc:sldMk cId="2092352750" sldId="4097"/>
            <ac:spMk id="27" creationId="{82E7B7B1-A2C9-E744-B1FB-1E7A1769F24A}"/>
          </ac:spMkLst>
        </pc:spChg>
        <pc:spChg chg="mod">
          <ac:chgData name="Hafiz Muhammad Salman" userId="47f5b1ff-37b9-4dd0-a37a-3bc5aec52fa1" providerId="ADAL" clId="{1D0D03E3-3226-4873-A599-0FE1608CAE58}" dt="2024-09-10T15:29:38.278" v="216" actId="790"/>
          <ac:spMkLst>
            <pc:docMk/>
            <pc:sldMk cId="2092352750" sldId="4097"/>
            <ac:spMk id="66" creationId="{46E46ED3-1AE9-204D-B166-72FE9793A77F}"/>
          </ac:spMkLst>
        </pc:spChg>
        <pc:spChg chg="mod">
          <ac:chgData name="Hafiz Muhammad Salman" userId="47f5b1ff-37b9-4dd0-a37a-3bc5aec52fa1" providerId="ADAL" clId="{1D0D03E3-3226-4873-A599-0FE1608CAE58}" dt="2024-09-10T15:29:38.278" v="217" actId="790"/>
          <ac:spMkLst>
            <pc:docMk/>
            <pc:sldMk cId="2092352750" sldId="4097"/>
            <ac:spMk id="67" creationId="{F518F9B3-4E90-8145-B5BC-7BB1211F1C63}"/>
          </ac:spMkLst>
        </pc:spChg>
        <pc:spChg chg="mod">
          <ac:chgData name="Hafiz Muhammad Salman" userId="47f5b1ff-37b9-4dd0-a37a-3bc5aec52fa1" providerId="ADAL" clId="{1D0D03E3-3226-4873-A599-0FE1608CAE58}" dt="2024-09-10T15:29:38.278" v="218" actId="790"/>
          <ac:spMkLst>
            <pc:docMk/>
            <pc:sldMk cId="2092352750" sldId="4097"/>
            <ac:spMk id="68" creationId="{4FB49268-B48D-3B47-A578-CE4416202823}"/>
          </ac:spMkLst>
        </pc:spChg>
        <pc:spChg chg="mod">
          <ac:chgData name="Hafiz Muhammad Salman" userId="47f5b1ff-37b9-4dd0-a37a-3bc5aec52fa1" providerId="ADAL" clId="{1D0D03E3-3226-4873-A599-0FE1608CAE58}" dt="2024-09-10T15:29:38.278" v="219" actId="790"/>
          <ac:spMkLst>
            <pc:docMk/>
            <pc:sldMk cId="2092352750" sldId="4097"/>
            <ac:spMk id="69" creationId="{FAC21368-8FAB-1045-BBE9-183DFE78E61F}"/>
          </ac:spMkLst>
        </pc:spChg>
        <pc:spChg chg="mod">
          <ac:chgData name="Hafiz Muhammad Salman" userId="47f5b1ff-37b9-4dd0-a37a-3bc5aec52fa1" providerId="ADAL" clId="{1D0D03E3-3226-4873-A599-0FE1608CAE58}" dt="2024-09-10T15:29:38.294" v="220" actId="790"/>
          <ac:spMkLst>
            <pc:docMk/>
            <pc:sldMk cId="2092352750" sldId="4097"/>
            <ac:spMk id="70" creationId="{1678DBBC-5A52-E340-8284-F5377B18964E}"/>
          </ac:spMkLst>
        </pc:spChg>
        <pc:spChg chg="mod">
          <ac:chgData name="Hafiz Muhammad Salman" userId="47f5b1ff-37b9-4dd0-a37a-3bc5aec52fa1" providerId="ADAL" clId="{1D0D03E3-3226-4873-A599-0FE1608CAE58}" dt="2024-09-10T15:29:38.294" v="221" actId="790"/>
          <ac:spMkLst>
            <pc:docMk/>
            <pc:sldMk cId="2092352750" sldId="4097"/>
            <ac:spMk id="71" creationId="{8FA9AA21-58DD-B44C-8550-3D641181603B}"/>
          </ac:spMkLst>
        </pc:spChg>
        <pc:spChg chg="mod">
          <ac:chgData name="Hafiz Muhammad Salman" userId="47f5b1ff-37b9-4dd0-a37a-3bc5aec52fa1" providerId="ADAL" clId="{1D0D03E3-3226-4873-A599-0FE1608CAE58}" dt="2024-09-10T15:29:38.294" v="222" actId="790"/>
          <ac:spMkLst>
            <pc:docMk/>
            <pc:sldMk cId="2092352750" sldId="4097"/>
            <ac:spMk id="72" creationId="{8F989D33-C9DF-A946-8E74-D46D45A65D9F}"/>
          </ac:spMkLst>
        </pc:spChg>
        <pc:spChg chg="mod">
          <ac:chgData name="Hafiz Muhammad Salman" userId="47f5b1ff-37b9-4dd0-a37a-3bc5aec52fa1" providerId="ADAL" clId="{1D0D03E3-3226-4873-A599-0FE1608CAE58}" dt="2024-09-10T15:29:38.294" v="223" actId="790"/>
          <ac:spMkLst>
            <pc:docMk/>
            <pc:sldMk cId="2092352750" sldId="4097"/>
            <ac:spMk id="73" creationId="{A6C476B9-BCF0-7547-B368-DA50F3B085C4}"/>
          </ac:spMkLst>
        </pc:spChg>
        <pc:spChg chg="mod">
          <ac:chgData name="Hafiz Muhammad Salman" userId="47f5b1ff-37b9-4dd0-a37a-3bc5aec52fa1" providerId="ADAL" clId="{1D0D03E3-3226-4873-A599-0FE1608CAE58}" dt="2024-09-10T15:29:38.294" v="224" actId="790"/>
          <ac:spMkLst>
            <pc:docMk/>
            <pc:sldMk cId="2092352750" sldId="4097"/>
            <ac:spMk id="76" creationId="{F8E1EBAD-22E6-6343-A1C0-235ED3B3AF07}"/>
          </ac:spMkLst>
        </pc:spChg>
        <pc:spChg chg="mod">
          <ac:chgData name="Hafiz Muhammad Salman" userId="47f5b1ff-37b9-4dd0-a37a-3bc5aec52fa1" providerId="ADAL" clId="{1D0D03E3-3226-4873-A599-0FE1608CAE58}" dt="2024-09-10T15:29:38.294" v="225" actId="790"/>
          <ac:spMkLst>
            <pc:docMk/>
            <pc:sldMk cId="2092352750" sldId="4097"/>
            <ac:spMk id="77" creationId="{BE338E7D-7216-7943-8BB5-BBD44BF8665A}"/>
          </ac:spMkLst>
        </pc:spChg>
        <pc:spChg chg="mod">
          <ac:chgData name="Hafiz Muhammad Salman" userId="47f5b1ff-37b9-4dd0-a37a-3bc5aec52fa1" providerId="ADAL" clId="{1D0D03E3-3226-4873-A599-0FE1608CAE58}" dt="2024-09-10T15:29:38.294" v="226" actId="790"/>
          <ac:spMkLst>
            <pc:docMk/>
            <pc:sldMk cId="2092352750" sldId="4097"/>
            <ac:spMk id="80" creationId="{E33C0DF2-D07F-DA49-88AB-C66FD40DF6DF}"/>
          </ac:spMkLst>
        </pc:spChg>
        <pc:spChg chg="mod">
          <ac:chgData name="Hafiz Muhammad Salman" userId="47f5b1ff-37b9-4dd0-a37a-3bc5aec52fa1" providerId="ADAL" clId="{1D0D03E3-3226-4873-A599-0FE1608CAE58}" dt="2024-09-10T15:29:38.294" v="227" actId="790"/>
          <ac:spMkLst>
            <pc:docMk/>
            <pc:sldMk cId="2092352750" sldId="4097"/>
            <ac:spMk id="81" creationId="{824AEEBE-E284-B944-A338-380CE3ADB6C4}"/>
          </ac:spMkLst>
        </pc:spChg>
        <pc:spChg chg="mod">
          <ac:chgData name="Hafiz Muhammad Salman" userId="47f5b1ff-37b9-4dd0-a37a-3bc5aec52fa1" providerId="ADAL" clId="{1D0D03E3-3226-4873-A599-0FE1608CAE58}" dt="2024-09-10T15:29:38.294" v="228" actId="790"/>
          <ac:spMkLst>
            <pc:docMk/>
            <pc:sldMk cId="2092352750" sldId="4097"/>
            <ac:spMk id="82" creationId="{BF87D320-AD3C-534A-88F8-66BEEDDD3340}"/>
          </ac:spMkLst>
        </pc:spChg>
        <pc:spChg chg="mod">
          <ac:chgData name="Hafiz Muhammad Salman" userId="47f5b1ff-37b9-4dd0-a37a-3bc5aec52fa1" providerId="ADAL" clId="{1D0D03E3-3226-4873-A599-0FE1608CAE58}" dt="2024-09-10T15:29:38.294" v="229" actId="790"/>
          <ac:spMkLst>
            <pc:docMk/>
            <pc:sldMk cId="2092352750" sldId="4097"/>
            <ac:spMk id="83" creationId="{00867470-FAE4-E440-9AD3-44B63B333CD5}"/>
          </ac:spMkLst>
        </pc:spChg>
        <pc:spChg chg="mod">
          <ac:chgData name="Hafiz Muhammad Salman" userId="47f5b1ff-37b9-4dd0-a37a-3bc5aec52fa1" providerId="ADAL" clId="{1D0D03E3-3226-4873-A599-0FE1608CAE58}" dt="2024-09-10T15:29:38.294" v="230" actId="790"/>
          <ac:spMkLst>
            <pc:docMk/>
            <pc:sldMk cId="2092352750" sldId="4097"/>
            <ac:spMk id="84" creationId="{14B34182-A934-B74C-BD5B-E9AA1CB94DDB}"/>
          </ac:spMkLst>
        </pc:spChg>
        <pc:spChg chg="mod">
          <ac:chgData name="Hafiz Muhammad Salman" userId="47f5b1ff-37b9-4dd0-a37a-3bc5aec52fa1" providerId="ADAL" clId="{1D0D03E3-3226-4873-A599-0FE1608CAE58}" dt="2024-09-10T15:29:38.294" v="231" actId="790"/>
          <ac:spMkLst>
            <pc:docMk/>
            <pc:sldMk cId="2092352750" sldId="4097"/>
            <ac:spMk id="85" creationId="{FF890DB7-450B-6748-894A-72D5138AF521}"/>
          </ac:spMkLst>
        </pc:spChg>
      </pc:sldChg>
      <pc:sldChg chg="addSp delSp modSp del mod">
        <pc:chgData name="Hafiz Muhammad Salman" userId="47f5b1ff-37b9-4dd0-a37a-3bc5aec52fa1" providerId="ADAL" clId="{1D0D03E3-3226-4873-A599-0FE1608CAE58}" dt="2024-09-11T13:19:19.048" v="2561" actId="47"/>
        <pc:sldMkLst>
          <pc:docMk/>
          <pc:sldMk cId="2503880284" sldId="4098"/>
        </pc:sldMkLst>
        <pc:spChg chg="mod">
          <ac:chgData name="Hafiz Muhammad Salman" userId="47f5b1ff-37b9-4dd0-a37a-3bc5aec52fa1" providerId="ADAL" clId="{1D0D03E3-3226-4873-A599-0FE1608CAE58}" dt="2024-09-10T15:29:38.810" v="247" actId="790"/>
          <ac:spMkLst>
            <pc:docMk/>
            <pc:sldMk cId="2503880284" sldId="4098"/>
            <ac:spMk id="7" creationId="{89EF3C11-1375-A04B-BA72-F041A22674CF}"/>
          </ac:spMkLst>
        </pc:spChg>
        <pc:spChg chg="mod">
          <ac:chgData name="Hafiz Muhammad Salman" userId="47f5b1ff-37b9-4dd0-a37a-3bc5aec52fa1" providerId="ADAL" clId="{1D0D03E3-3226-4873-A599-0FE1608CAE58}" dt="2024-09-10T15:29:38.810" v="248" actId="790"/>
          <ac:spMkLst>
            <pc:docMk/>
            <pc:sldMk cId="2503880284" sldId="4098"/>
            <ac:spMk id="8" creationId="{74AC61C6-8FD8-2944-AC0F-CED2A883E1C2}"/>
          </ac:spMkLst>
        </pc:spChg>
        <pc:spChg chg="mod">
          <ac:chgData name="Hafiz Muhammad Salman" userId="47f5b1ff-37b9-4dd0-a37a-3bc5aec52fa1" providerId="ADAL" clId="{1D0D03E3-3226-4873-A599-0FE1608CAE58}" dt="2024-09-10T15:29:38.810" v="249" actId="790"/>
          <ac:spMkLst>
            <pc:docMk/>
            <pc:sldMk cId="2503880284" sldId="4098"/>
            <ac:spMk id="9" creationId="{C0A6F732-CCC9-9845-A66E-D7680F5BF7D6}"/>
          </ac:spMkLst>
        </pc:spChg>
        <pc:spChg chg="mod">
          <ac:chgData name="Hafiz Muhammad Salman" userId="47f5b1ff-37b9-4dd0-a37a-3bc5aec52fa1" providerId="ADAL" clId="{1D0D03E3-3226-4873-A599-0FE1608CAE58}" dt="2024-09-10T15:29:38.826" v="250" actId="790"/>
          <ac:spMkLst>
            <pc:docMk/>
            <pc:sldMk cId="2503880284" sldId="4098"/>
            <ac:spMk id="10" creationId="{67B23ACB-F470-C04B-A773-EAF44D7C4B0D}"/>
          </ac:spMkLst>
        </pc:spChg>
        <pc:spChg chg="mod">
          <ac:chgData name="Hafiz Muhammad Salman" userId="47f5b1ff-37b9-4dd0-a37a-3bc5aec52fa1" providerId="ADAL" clId="{1D0D03E3-3226-4873-A599-0FE1608CAE58}" dt="2024-09-10T15:29:38.810" v="246" actId="790"/>
          <ac:spMkLst>
            <pc:docMk/>
            <pc:sldMk cId="2503880284" sldId="4098"/>
            <ac:spMk id="15" creationId="{554E4B44-1FC9-4649-B1E4-AEDB390D4045}"/>
          </ac:spMkLst>
        </pc:spChg>
        <pc:spChg chg="mod">
          <ac:chgData name="Hafiz Muhammad Salman" userId="47f5b1ff-37b9-4dd0-a37a-3bc5aec52fa1" providerId="ADAL" clId="{1D0D03E3-3226-4873-A599-0FE1608CAE58}" dt="2024-09-10T15:29:38.810" v="245" actId="790"/>
          <ac:spMkLst>
            <pc:docMk/>
            <pc:sldMk cId="2503880284" sldId="4098"/>
            <ac:spMk id="17" creationId="{3E24B5C7-943F-1841-A6AD-0D1899D65A6E}"/>
          </ac:spMkLst>
        </pc:spChg>
        <pc:spChg chg="mod">
          <ac:chgData name="Hafiz Muhammad Salman" userId="47f5b1ff-37b9-4dd0-a37a-3bc5aec52fa1" providerId="ADAL" clId="{1D0D03E3-3226-4873-A599-0FE1608CAE58}" dt="2024-09-10T15:29:38.810" v="244" actId="790"/>
          <ac:spMkLst>
            <pc:docMk/>
            <pc:sldMk cId="2503880284" sldId="4098"/>
            <ac:spMk id="19" creationId="{C1FD93E5-D29A-5B45-8279-5AB1770E668E}"/>
          </ac:spMkLst>
        </pc:spChg>
        <pc:spChg chg="mod">
          <ac:chgData name="Hafiz Muhammad Salman" userId="47f5b1ff-37b9-4dd0-a37a-3bc5aec52fa1" providerId="ADAL" clId="{1D0D03E3-3226-4873-A599-0FE1608CAE58}" dt="2024-09-10T15:29:38.810" v="243" actId="790"/>
          <ac:spMkLst>
            <pc:docMk/>
            <pc:sldMk cId="2503880284" sldId="4098"/>
            <ac:spMk id="21" creationId="{E701EA53-041E-9E4D-8ECF-71E493F1E104}"/>
          </ac:spMkLst>
        </pc:spChg>
        <pc:spChg chg="del mod">
          <ac:chgData name="Hafiz Muhammad Salman" userId="47f5b1ff-37b9-4dd0-a37a-3bc5aec52fa1" providerId="ADAL" clId="{1D0D03E3-3226-4873-A599-0FE1608CAE58}" dt="2024-09-11T12:59:02.872" v="2283" actId="478"/>
          <ac:spMkLst>
            <pc:docMk/>
            <pc:sldMk cId="2503880284" sldId="4098"/>
            <ac:spMk id="27" creationId="{1144B5F9-87CB-C343-B0EB-B07532D9F620}"/>
          </ac:spMkLst>
        </pc:spChg>
        <pc:spChg chg="mod">
          <ac:chgData name="Hafiz Muhammad Salman" userId="47f5b1ff-37b9-4dd0-a37a-3bc5aec52fa1" providerId="ADAL" clId="{1D0D03E3-3226-4873-A599-0FE1608CAE58}" dt="2024-09-10T15:29:38.779" v="242" actId="790"/>
          <ac:spMkLst>
            <pc:docMk/>
            <pc:sldMk cId="2503880284" sldId="4098"/>
            <ac:spMk id="28" creationId="{0B86953C-4190-9345-ABDB-C81A37EDCF19}"/>
          </ac:spMkLst>
        </pc:spChg>
        <pc:spChg chg="mod">
          <ac:chgData name="Hafiz Muhammad Salman" userId="47f5b1ff-37b9-4dd0-a37a-3bc5aec52fa1" providerId="ADAL" clId="{1D0D03E3-3226-4873-A599-0FE1608CAE58}" dt="2024-09-10T15:29:38.763" v="237" actId="790"/>
          <ac:spMkLst>
            <pc:docMk/>
            <pc:sldMk cId="2503880284" sldId="4098"/>
            <ac:spMk id="29" creationId="{C3C62546-DF66-5F4E-BB8D-5F155861B3A6}"/>
          </ac:spMkLst>
        </pc:spChg>
        <pc:spChg chg="mod">
          <ac:chgData name="Hafiz Muhammad Salman" userId="47f5b1ff-37b9-4dd0-a37a-3bc5aec52fa1" providerId="ADAL" clId="{1D0D03E3-3226-4873-A599-0FE1608CAE58}" dt="2024-09-10T15:29:38.763" v="238" actId="790"/>
          <ac:spMkLst>
            <pc:docMk/>
            <pc:sldMk cId="2503880284" sldId="4098"/>
            <ac:spMk id="30" creationId="{BDE5AF58-BFFB-764D-9DD6-6B1465BE1B46}"/>
          </ac:spMkLst>
        </pc:spChg>
        <pc:spChg chg="mod">
          <ac:chgData name="Hafiz Muhammad Salman" userId="47f5b1ff-37b9-4dd0-a37a-3bc5aec52fa1" providerId="ADAL" clId="{1D0D03E3-3226-4873-A599-0FE1608CAE58}" dt="2024-09-10T15:29:38.763" v="239" actId="790"/>
          <ac:spMkLst>
            <pc:docMk/>
            <pc:sldMk cId="2503880284" sldId="4098"/>
            <ac:spMk id="31" creationId="{1A7ECEE8-8C60-4E4A-B85A-05782B311FEA}"/>
          </ac:spMkLst>
        </pc:spChg>
        <pc:spChg chg="mod">
          <ac:chgData name="Hafiz Muhammad Salman" userId="47f5b1ff-37b9-4dd0-a37a-3bc5aec52fa1" providerId="ADAL" clId="{1D0D03E3-3226-4873-A599-0FE1608CAE58}" dt="2024-09-10T15:29:38.779" v="240" actId="790"/>
          <ac:spMkLst>
            <pc:docMk/>
            <pc:sldMk cId="2503880284" sldId="4098"/>
            <ac:spMk id="32" creationId="{06AE8A92-0BF0-F144-8929-92AAA0A0A3D2}"/>
          </ac:spMkLst>
        </pc:spChg>
        <pc:spChg chg="mod">
          <ac:chgData name="Hafiz Muhammad Salman" userId="47f5b1ff-37b9-4dd0-a37a-3bc5aec52fa1" providerId="ADAL" clId="{1D0D03E3-3226-4873-A599-0FE1608CAE58}" dt="2024-09-10T15:29:38.763" v="234" actId="790"/>
          <ac:spMkLst>
            <pc:docMk/>
            <pc:sldMk cId="2503880284" sldId="4098"/>
            <ac:spMk id="33" creationId="{9111358C-2DA0-3B42-B04A-C8A03DA90A30}"/>
          </ac:spMkLst>
        </pc:spChg>
        <pc:spChg chg="mod">
          <ac:chgData name="Hafiz Muhammad Salman" userId="47f5b1ff-37b9-4dd0-a37a-3bc5aec52fa1" providerId="ADAL" clId="{1D0D03E3-3226-4873-A599-0FE1608CAE58}" dt="2024-09-10T15:29:38.763" v="235" actId="790"/>
          <ac:spMkLst>
            <pc:docMk/>
            <pc:sldMk cId="2503880284" sldId="4098"/>
            <ac:spMk id="35" creationId="{94CD2506-A5BD-4446-B8E3-66D8F1549540}"/>
          </ac:spMkLst>
        </pc:spChg>
        <pc:spChg chg="mod">
          <ac:chgData name="Hafiz Muhammad Salman" userId="47f5b1ff-37b9-4dd0-a37a-3bc5aec52fa1" providerId="ADAL" clId="{1D0D03E3-3226-4873-A599-0FE1608CAE58}" dt="2024-09-10T15:29:38.763" v="232" actId="790"/>
          <ac:spMkLst>
            <pc:docMk/>
            <pc:sldMk cId="2503880284" sldId="4098"/>
            <ac:spMk id="38" creationId="{906B1319-D506-4042-B15D-77F588A7FBFF}"/>
          </ac:spMkLst>
        </pc:spChg>
        <pc:spChg chg="mod">
          <ac:chgData name="Hafiz Muhammad Salman" userId="47f5b1ff-37b9-4dd0-a37a-3bc5aec52fa1" providerId="ADAL" clId="{1D0D03E3-3226-4873-A599-0FE1608CAE58}" dt="2024-09-10T15:29:38.763" v="233" actId="790"/>
          <ac:spMkLst>
            <pc:docMk/>
            <pc:sldMk cId="2503880284" sldId="4098"/>
            <ac:spMk id="39" creationId="{680C808B-C81A-4246-8424-823FCF00FACB}"/>
          </ac:spMkLst>
        </pc:spChg>
        <pc:spChg chg="del mod">
          <ac:chgData name="Hafiz Muhammad Salman" userId="47f5b1ff-37b9-4dd0-a37a-3bc5aec52fa1" providerId="ADAL" clId="{1D0D03E3-3226-4873-A599-0FE1608CAE58}" dt="2024-09-11T12:59:02.872" v="2283" actId="478"/>
          <ac:spMkLst>
            <pc:docMk/>
            <pc:sldMk cId="2503880284" sldId="4098"/>
            <ac:spMk id="40" creationId="{EA0F5ACA-8D4A-CC47-BE70-50BB1D612E30}"/>
          </ac:spMkLst>
        </pc:spChg>
        <pc:spChg chg="mod">
          <ac:chgData name="Hafiz Muhammad Salman" userId="47f5b1ff-37b9-4dd0-a37a-3bc5aec52fa1" providerId="ADAL" clId="{1D0D03E3-3226-4873-A599-0FE1608CAE58}" dt="2024-09-10T15:29:38.826" v="251" actId="790"/>
          <ac:spMkLst>
            <pc:docMk/>
            <pc:sldMk cId="2503880284" sldId="4098"/>
            <ac:spMk id="41" creationId="{3AE0715C-FCEC-1543-AB77-4A5BCABE9BB9}"/>
          </ac:spMkLst>
        </pc:spChg>
        <pc:spChg chg="mod">
          <ac:chgData name="Hafiz Muhammad Salman" userId="47f5b1ff-37b9-4dd0-a37a-3bc5aec52fa1" providerId="ADAL" clId="{1D0D03E3-3226-4873-A599-0FE1608CAE58}" dt="2024-09-10T15:29:38.826" v="252" actId="790"/>
          <ac:spMkLst>
            <pc:docMk/>
            <pc:sldMk cId="2503880284" sldId="4098"/>
            <ac:spMk id="42" creationId="{BD091836-05D7-BA45-B256-787EB2B20C70}"/>
          </ac:spMkLst>
        </pc:spChg>
        <pc:spChg chg="mod">
          <ac:chgData name="Hafiz Muhammad Salman" userId="47f5b1ff-37b9-4dd0-a37a-3bc5aec52fa1" providerId="ADAL" clId="{1D0D03E3-3226-4873-A599-0FE1608CAE58}" dt="2024-09-10T15:29:38.826" v="253" actId="790"/>
          <ac:spMkLst>
            <pc:docMk/>
            <pc:sldMk cId="2503880284" sldId="4098"/>
            <ac:spMk id="43" creationId="{13EDF221-D151-9E4F-B09F-766AC2A83E88}"/>
          </ac:spMkLst>
        </pc:spChg>
        <pc:spChg chg="mod">
          <ac:chgData name="Hafiz Muhammad Salman" userId="47f5b1ff-37b9-4dd0-a37a-3bc5aec52fa1" providerId="ADAL" clId="{1D0D03E3-3226-4873-A599-0FE1608CAE58}" dt="2024-09-10T15:29:38.826" v="254" actId="790"/>
          <ac:spMkLst>
            <pc:docMk/>
            <pc:sldMk cId="2503880284" sldId="4098"/>
            <ac:spMk id="44" creationId="{AF7274CC-F61E-1248-8561-E5621091709A}"/>
          </ac:spMkLst>
        </pc:spChg>
        <pc:spChg chg="mod">
          <ac:chgData name="Hafiz Muhammad Salman" userId="47f5b1ff-37b9-4dd0-a37a-3bc5aec52fa1" providerId="ADAL" clId="{1D0D03E3-3226-4873-A599-0FE1608CAE58}" dt="2024-09-10T15:29:38.826" v="255" actId="790"/>
          <ac:spMkLst>
            <pc:docMk/>
            <pc:sldMk cId="2503880284" sldId="4098"/>
            <ac:spMk id="45" creationId="{A70BF3FF-EEB5-EE4A-B94F-4DDCCE948731}"/>
          </ac:spMkLst>
        </pc:spChg>
        <pc:spChg chg="mod">
          <ac:chgData name="Hafiz Muhammad Salman" userId="47f5b1ff-37b9-4dd0-a37a-3bc5aec52fa1" providerId="ADAL" clId="{1D0D03E3-3226-4873-A599-0FE1608CAE58}" dt="2024-09-10T15:29:38.826" v="256" actId="790"/>
          <ac:spMkLst>
            <pc:docMk/>
            <pc:sldMk cId="2503880284" sldId="4098"/>
            <ac:spMk id="46" creationId="{749C2B6A-6D1A-FC42-AE5F-51CEF54AE96F}"/>
          </ac:spMkLst>
        </pc:spChg>
        <pc:spChg chg="mod">
          <ac:chgData name="Hafiz Muhammad Salman" userId="47f5b1ff-37b9-4dd0-a37a-3bc5aec52fa1" providerId="ADAL" clId="{1D0D03E3-3226-4873-A599-0FE1608CAE58}" dt="2024-09-10T15:29:38.826" v="257" actId="790"/>
          <ac:spMkLst>
            <pc:docMk/>
            <pc:sldMk cId="2503880284" sldId="4098"/>
            <ac:spMk id="47" creationId="{EB7980F7-F727-424D-B79B-32084F89C946}"/>
          </ac:spMkLst>
        </pc:spChg>
        <pc:spChg chg="mod">
          <ac:chgData name="Hafiz Muhammad Salman" userId="47f5b1ff-37b9-4dd0-a37a-3bc5aec52fa1" providerId="ADAL" clId="{1D0D03E3-3226-4873-A599-0FE1608CAE58}" dt="2024-09-10T15:29:38.826" v="258" actId="790"/>
          <ac:spMkLst>
            <pc:docMk/>
            <pc:sldMk cId="2503880284" sldId="4098"/>
            <ac:spMk id="48" creationId="{6DDA6055-414E-9640-9700-44D205699B20}"/>
          </ac:spMkLst>
        </pc:spChg>
        <pc:picChg chg="add del mod">
          <ac:chgData name="Hafiz Muhammad Salman" userId="47f5b1ff-37b9-4dd0-a37a-3bc5aec52fa1" providerId="ADAL" clId="{1D0D03E3-3226-4873-A599-0FE1608CAE58}" dt="2024-09-11T13:01:39.358" v="2288" actId="478"/>
          <ac:picMkLst>
            <pc:docMk/>
            <pc:sldMk cId="2503880284" sldId="4098"/>
            <ac:picMk id="6" creationId="{6FCCF623-0F72-48D2-0842-23662C82412D}"/>
          </ac:picMkLst>
        </pc:picChg>
        <pc:picChg chg="add mod">
          <ac:chgData name="Hafiz Muhammad Salman" userId="47f5b1ff-37b9-4dd0-a37a-3bc5aec52fa1" providerId="ADAL" clId="{1D0D03E3-3226-4873-A599-0FE1608CAE58}" dt="2024-09-11T13:02:13.468" v="2296" actId="1076"/>
          <ac:picMkLst>
            <pc:docMk/>
            <pc:sldMk cId="2503880284" sldId="4098"/>
            <ac:picMk id="12" creationId="{DCBF1CF4-F5BF-C505-048E-2FB8144B4A2C}"/>
          </ac:picMkLst>
        </pc:picChg>
      </pc:sldChg>
      <pc:sldChg chg="modSp del mod">
        <pc:chgData name="Hafiz Muhammad Salman" userId="47f5b1ff-37b9-4dd0-a37a-3bc5aec52fa1" providerId="ADAL" clId="{1D0D03E3-3226-4873-A599-0FE1608CAE58}" dt="2024-09-11T13:19:49.437" v="2568" actId="47"/>
        <pc:sldMkLst>
          <pc:docMk/>
          <pc:sldMk cId="4203582286" sldId="4099"/>
        </pc:sldMkLst>
        <pc:spChg chg="mod">
          <ac:chgData name="Hafiz Muhammad Salman" userId="47f5b1ff-37b9-4dd0-a37a-3bc5aec52fa1" providerId="ADAL" clId="{1D0D03E3-3226-4873-A599-0FE1608CAE58}" dt="2024-09-10T15:39:33.247" v="381" actId="790"/>
          <ac:spMkLst>
            <pc:docMk/>
            <pc:sldMk cId="4203582286" sldId="4099"/>
            <ac:spMk id="18" creationId="{6A1FFD52-4675-194B-8A0C-572480362906}"/>
          </ac:spMkLst>
        </pc:spChg>
        <pc:spChg chg="mod">
          <ac:chgData name="Hafiz Muhammad Salman" userId="47f5b1ff-37b9-4dd0-a37a-3bc5aec52fa1" providerId="ADAL" clId="{1D0D03E3-3226-4873-A599-0FE1608CAE58}" dt="2024-09-10T15:39:33.268" v="382" actId="790"/>
          <ac:spMkLst>
            <pc:docMk/>
            <pc:sldMk cId="4203582286" sldId="4099"/>
            <ac:spMk id="20" creationId="{1AF6E9D1-E39E-2347-B3D8-2E62B5183C9F}"/>
          </ac:spMkLst>
        </pc:spChg>
        <pc:spChg chg="mod">
          <ac:chgData name="Hafiz Muhammad Salman" userId="47f5b1ff-37b9-4dd0-a37a-3bc5aec52fa1" providerId="ADAL" clId="{1D0D03E3-3226-4873-A599-0FE1608CAE58}" dt="2024-09-10T15:39:33.269" v="383" actId="790"/>
          <ac:spMkLst>
            <pc:docMk/>
            <pc:sldMk cId="4203582286" sldId="4099"/>
            <ac:spMk id="22" creationId="{8F61FE95-7CAD-8C41-81FE-00950BA828F8}"/>
          </ac:spMkLst>
        </pc:spChg>
        <pc:spChg chg="mod">
          <ac:chgData name="Hafiz Muhammad Salman" userId="47f5b1ff-37b9-4dd0-a37a-3bc5aec52fa1" providerId="ADAL" clId="{1D0D03E3-3226-4873-A599-0FE1608CAE58}" dt="2024-09-10T15:39:33.271" v="384" actId="790"/>
          <ac:spMkLst>
            <pc:docMk/>
            <pc:sldMk cId="4203582286" sldId="4099"/>
            <ac:spMk id="23" creationId="{A902A086-2BD5-4F4B-A000-CAABFF81B20A}"/>
          </ac:spMkLst>
        </pc:spChg>
        <pc:spChg chg="mod">
          <ac:chgData name="Hafiz Muhammad Salman" userId="47f5b1ff-37b9-4dd0-a37a-3bc5aec52fa1" providerId="ADAL" clId="{1D0D03E3-3226-4873-A599-0FE1608CAE58}" dt="2024-09-10T15:39:33.273" v="385" actId="790"/>
          <ac:spMkLst>
            <pc:docMk/>
            <pc:sldMk cId="4203582286" sldId="4099"/>
            <ac:spMk id="24" creationId="{01C361C7-AC21-F649-85FE-EC7EDE598293}"/>
          </ac:spMkLst>
        </pc:spChg>
        <pc:spChg chg="mod">
          <ac:chgData name="Hafiz Muhammad Salman" userId="47f5b1ff-37b9-4dd0-a37a-3bc5aec52fa1" providerId="ADAL" clId="{1D0D03E3-3226-4873-A599-0FE1608CAE58}" dt="2024-09-10T15:39:33.274" v="386" actId="790"/>
          <ac:spMkLst>
            <pc:docMk/>
            <pc:sldMk cId="4203582286" sldId="4099"/>
            <ac:spMk id="25" creationId="{2080FAA2-7AD4-F04A-9C62-00BD4F590C60}"/>
          </ac:spMkLst>
        </pc:spChg>
        <pc:spChg chg="mod">
          <ac:chgData name="Hafiz Muhammad Salman" userId="47f5b1ff-37b9-4dd0-a37a-3bc5aec52fa1" providerId="ADAL" clId="{1D0D03E3-3226-4873-A599-0FE1608CAE58}" dt="2024-09-10T15:39:33.276" v="387" actId="790"/>
          <ac:spMkLst>
            <pc:docMk/>
            <pc:sldMk cId="4203582286" sldId="4099"/>
            <ac:spMk id="26" creationId="{72CCE432-91CD-5649-A685-BDC03E2460F0}"/>
          </ac:spMkLst>
        </pc:spChg>
        <pc:spChg chg="mod">
          <ac:chgData name="Hafiz Muhammad Salman" userId="47f5b1ff-37b9-4dd0-a37a-3bc5aec52fa1" providerId="ADAL" clId="{1D0D03E3-3226-4873-A599-0FE1608CAE58}" dt="2024-09-10T15:39:33.277" v="388" actId="790"/>
          <ac:spMkLst>
            <pc:docMk/>
            <pc:sldMk cId="4203582286" sldId="4099"/>
            <ac:spMk id="27" creationId="{D570EF8B-7D1C-B047-93AD-B594802A38BD}"/>
          </ac:spMkLst>
        </pc:spChg>
        <pc:spChg chg="mod">
          <ac:chgData name="Hafiz Muhammad Salman" userId="47f5b1ff-37b9-4dd0-a37a-3bc5aec52fa1" providerId="ADAL" clId="{1D0D03E3-3226-4873-A599-0FE1608CAE58}" dt="2024-09-10T15:39:33.278" v="389" actId="790"/>
          <ac:spMkLst>
            <pc:docMk/>
            <pc:sldMk cId="4203582286" sldId="4099"/>
            <ac:spMk id="28" creationId="{36B6EC0D-D121-1C40-A81A-FEC58FBC578D}"/>
          </ac:spMkLst>
        </pc:spChg>
        <pc:spChg chg="mod">
          <ac:chgData name="Hafiz Muhammad Salman" userId="47f5b1ff-37b9-4dd0-a37a-3bc5aec52fa1" providerId="ADAL" clId="{1D0D03E3-3226-4873-A599-0FE1608CAE58}" dt="2024-09-10T15:39:33.279" v="390" actId="790"/>
          <ac:spMkLst>
            <pc:docMk/>
            <pc:sldMk cId="4203582286" sldId="4099"/>
            <ac:spMk id="29" creationId="{E80A1BE0-72C6-E24A-A313-BDDAEAFA8400}"/>
          </ac:spMkLst>
        </pc:spChg>
        <pc:spChg chg="mod">
          <ac:chgData name="Hafiz Muhammad Salman" userId="47f5b1ff-37b9-4dd0-a37a-3bc5aec52fa1" providerId="ADAL" clId="{1D0D03E3-3226-4873-A599-0FE1608CAE58}" dt="2024-09-10T15:39:33.280" v="391" actId="790"/>
          <ac:spMkLst>
            <pc:docMk/>
            <pc:sldMk cId="4203582286" sldId="4099"/>
            <ac:spMk id="30" creationId="{9C5A230D-0995-754B-87D5-2BEA4CF28050}"/>
          </ac:spMkLst>
        </pc:spChg>
        <pc:spChg chg="mod">
          <ac:chgData name="Hafiz Muhammad Salman" userId="47f5b1ff-37b9-4dd0-a37a-3bc5aec52fa1" providerId="ADAL" clId="{1D0D03E3-3226-4873-A599-0FE1608CAE58}" dt="2024-09-10T15:39:33.281" v="392" actId="790"/>
          <ac:spMkLst>
            <pc:docMk/>
            <pc:sldMk cId="4203582286" sldId="4099"/>
            <ac:spMk id="31" creationId="{CED13C75-3AC9-8F43-A27D-3FC36A4C4F51}"/>
          </ac:spMkLst>
        </pc:spChg>
        <pc:spChg chg="mod">
          <ac:chgData name="Hafiz Muhammad Salman" userId="47f5b1ff-37b9-4dd0-a37a-3bc5aec52fa1" providerId="ADAL" clId="{1D0D03E3-3226-4873-A599-0FE1608CAE58}" dt="2024-09-10T15:39:33.282" v="393" actId="790"/>
          <ac:spMkLst>
            <pc:docMk/>
            <pc:sldMk cId="4203582286" sldId="4099"/>
            <ac:spMk id="32" creationId="{B8489F4D-6D7B-BA49-BE58-0A63A096589A}"/>
          </ac:spMkLst>
        </pc:spChg>
        <pc:spChg chg="mod">
          <ac:chgData name="Hafiz Muhammad Salman" userId="47f5b1ff-37b9-4dd0-a37a-3bc5aec52fa1" providerId="ADAL" clId="{1D0D03E3-3226-4873-A599-0FE1608CAE58}" dt="2024-09-10T15:39:33.282" v="394" actId="790"/>
          <ac:spMkLst>
            <pc:docMk/>
            <pc:sldMk cId="4203582286" sldId="4099"/>
            <ac:spMk id="33" creationId="{F0775CE7-45AD-0B43-9A00-1588BDAD5231}"/>
          </ac:spMkLst>
        </pc:spChg>
        <pc:spChg chg="mod">
          <ac:chgData name="Hafiz Muhammad Salman" userId="47f5b1ff-37b9-4dd0-a37a-3bc5aec52fa1" providerId="ADAL" clId="{1D0D03E3-3226-4873-A599-0FE1608CAE58}" dt="2024-09-10T15:39:33.283" v="395" actId="790"/>
          <ac:spMkLst>
            <pc:docMk/>
            <pc:sldMk cId="4203582286" sldId="4099"/>
            <ac:spMk id="34" creationId="{218EF259-F096-1646-A96A-D85C93A03455}"/>
          </ac:spMkLst>
        </pc:spChg>
        <pc:spChg chg="mod">
          <ac:chgData name="Hafiz Muhammad Salman" userId="47f5b1ff-37b9-4dd0-a37a-3bc5aec52fa1" providerId="ADAL" clId="{1D0D03E3-3226-4873-A599-0FE1608CAE58}" dt="2024-09-10T15:39:33.284" v="396" actId="790"/>
          <ac:spMkLst>
            <pc:docMk/>
            <pc:sldMk cId="4203582286" sldId="4099"/>
            <ac:spMk id="35" creationId="{A02E6F7D-840D-3144-B468-027B5A0FEB8C}"/>
          </ac:spMkLst>
        </pc:spChg>
        <pc:spChg chg="mod">
          <ac:chgData name="Hafiz Muhammad Salman" userId="47f5b1ff-37b9-4dd0-a37a-3bc5aec52fa1" providerId="ADAL" clId="{1D0D03E3-3226-4873-A599-0FE1608CAE58}" dt="2024-09-10T15:39:33.284" v="397" actId="790"/>
          <ac:spMkLst>
            <pc:docMk/>
            <pc:sldMk cId="4203582286" sldId="4099"/>
            <ac:spMk id="36" creationId="{F3DF7383-8CDC-1A4B-B5D5-0B3C64D17C39}"/>
          </ac:spMkLst>
        </pc:spChg>
        <pc:spChg chg="mod">
          <ac:chgData name="Hafiz Muhammad Salman" userId="47f5b1ff-37b9-4dd0-a37a-3bc5aec52fa1" providerId="ADAL" clId="{1D0D03E3-3226-4873-A599-0FE1608CAE58}" dt="2024-09-10T15:39:33.286" v="398" actId="790"/>
          <ac:spMkLst>
            <pc:docMk/>
            <pc:sldMk cId="4203582286" sldId="4099"/>
            <ac:spMk id="37" creationId="{E85339FA-1527-0542-AD7E-CC777FEBA5CC}"/>
          </ac:spMkLst>
        </pc:spChg>
        <pc:spChg chg="mod">
          <ac:chgData name="Hafiz Muhammad Salman" userId="47f5b1ff-37b9-4dd0-a37a-3bc5aec52fa1" providerId="ADAL" clId="{1D0D03E3-3226-4873-A599-0FE1608CAE58}" dt="2024-09-10T15:39:33.287" v="399" actId="790"/>
          <ac:spMkLst>
            <pc:docMk/>
            <pc:sldMk cId="4203582286" sldId="4099"/>
            <ac:spMk id="38" creationId="{36C7C2A5-92ED-3448-96BA-3BD12ED4DC4C}"/>
          </ac:spMkLst>
        </pc:spChg>
        <pc:spChg chg="mod">
          <ac:chgData name="Hafiz Muhammad Salman" userId="47f5b1ff-37b9-4dd0-a37a-3bc5aec52fa1" providerId="ADAL" clId="{1D0D03E3-3226-4873-A599-0FE1608CAE58}" dt="2024-09-10T15:39:33.289" v="400" actId="790"/>
          <ac:spMkLst>
            <pc:docMk/>
            <pc:sldMk cId="4203582286" sldId="4099"/>
            <ac:spMk id="39" creationId="{C625689B-A2B4-DB43-AD23-3B82646831B4}"/>
          </ac:spMkLst>
        </pc:spChg>
        <pc:spChg chg="mod">
          <ac:chgData name="Hafiz Muhammad Salman" userId="47f5b1ff-37b9-4dd0-a37a-3bc5aec52fa1" providerId="ADAL" clId="{1D0D03E3-3226-4873-A599-0FE1608CAE58}" dt="2024-09-10T15:39:33.290" v="401" actId="790"/>
          <ac:spMkLst>
            <pc:docMk/>
            <pc:sldMk cId="4203582286" sldId="4099"/>
            <ac:spMk id="40" creationId="{0928FC96-34C0-5443-BF4C-E6263EB4151D}"/>
          </ac:spMkLst>
        </pc:spChg>
        <pc:spChg chg="mod">
          <ac:chgData name="Hafiz Muhammad Salman" userId="47f5b1ff-37b9-4dd0-a37a-3bc5aec52fa1" providerId="ADAL" clId="{1D0D03E3-3226-4873-A599-0FE1608CAE58}" dt="2024-09-10T15:39:33.291" v="402" actId="790"/>
          <ac:spMkLst>
            <pc:docMk/>
            <pc:sldMk cId="4203582286" sldId="4099"/>
            <ac:spMk id="41" creationId="{34ABBBA1-4DAC-1340-BBCE-E5C6B973B77C}"/>
          </ac:spMkLst>
        </pc:spChg>
        <pc:spChg chg="mod">
          <ac:chgData name="Hafiz Muhammad Salman" userId="47f5b1ff-37b9-4dd0-a37a-3bc5aec52fa1" providerId="ADAL" clId="{1D0D03E3-3226-4873-A599-0FE1608CAE58}" dt="2024-09-10T15:39:33.292" v="403" actId="790"/>
          <ac:spMkLst>
            <pc:docMk/>
            <pc:sldMk cId="4203582286" sldId="4099"/>
            <ac:spMk id="42" creationId="{CB90C7A5-9DFF-0B45-96EB-BB4067D43D19}"/>
          </ac:spMkLst>
        </pc:spChg>
        <pc:spChg chg="mod">
          <ac:chgData name="Hafiz Muhammad Salman" userId="47f5b1ff-37b9-4dd0-a37a-3bc5aec52fa1" providerId="ADAL" clId="{1D0D03E3-3226-4873-A599-0FE1608CAE58}" dt="2024-09-10T15:39:33.293" v="404" actId="790"/>
          <ac:spMkLst>
            <pc:docMk/>
            <pc:sldMk cId="4203582286" sldId="4099"/>
            <ac:spMk id="43" creationId="{C37BBC01-1806-2E40-9049-5CF2F78E7A75}"/>
          </ac:spMkLst>
        </pc:spChg>
        <pc:spChg chg="mod">
          <ac:chgData name="Hafiz Muhammad Salman" userId="47f5b1ff-37b9-4dd0-a37a-3bc5aec52fa1" providerId="ADAL" clId="{1D0D03E3-3226-4873-A599-0FE1608CAE58}" dt="2024-09-10T15:39:33.294" v="405" actId="790"/>
          <ac:spMkLst>
            <pc:docMk/>
            <pc:sldMk cId="4203582286" sldId="4099"/>
            <ac:spMk id="44" creationId="{6954DBF2-32BD-3A4D-BDFF-F52E6A642FC1}"/>
          </ac:spMkLst>
        </pc:spChg>
        <pc:spChg chg="mod">
          <ac:chgData name="Hafiz Muhammad Salman" userId="47f5b1ff-37b9-4dd0-a37a-3bc5aec52fa1" providerId="ADAL" clId="{1D0D03E3-3226-4873-A599-0FE1608CAE58}" dt="2024-09-10T15:39:33.294" v="406" actId="790"/>
          <ac:spMkLst>
            <pc:docMk/>
            <pc:sldMk cId="4203582286" sldId="4099"/>
            <ac:spMk id="45" creationId="{108FE1A6-8097-904F-A62E-B2FAE080F4DD}"/>
          </ac:spMkLst>
        </pc:spChg>
        <pc:spChg chg="mod">
          <ac:chgData name="Hafiz Muhammad Salman" userId="47f5b1ff-37b9-4dd0-a37a-3bc5aec52fa1" providerId="ADAL" clId="{1D0D03E3-3226-4873-A599-0FE1608CAE58}" dt="2024-09-10T15:39:33.295" v="407" actId="790"/>
          <ac:spMkLst>
            <pc:docMk/>
            <pc:sldMk cId="4203582286" sldId="4099"/>
            <ac:spMk id="46" creationId="{0C4B02C3-F3E5-2D48-A08D-38882189F427}"/>
          </ac:spMkLst>
        </pc:spChg>
        <pc:spChg chg="mod">
          <ac:chgData name="Hafiz Muhammad Salman" userId="47f5b1ff-37b9-4dd0-a37a-3bc5aec52fa1" providerId="ADAL" clId="{1D0D03E3-3226-4873-A599-0FE1608CAE58}" dt="2024-09-10T15:39:33.298" v="408" actId="790"/>
          <ac:spMkLst>
            <pc:docMk/>
            <pc:sldMk cId="4203582286" sldId="4099"/>
            <ac:spMk id="47" creationId="{C8269D19-2DFB-DC43-8749-466E8BADF088}"/>
          </ac:spMkLst>
        </pc:spChg>
        <pc:spChg chg="mod">
          <ac:chgData name="Hafiz Muhammad Salman" userId="47f5b1ff-37b9-4dd0-a37a-3bc5aec52fa1" providerId="ADAL" clId="{1D0D03E3-3226-4873-A599-0FE1608CAE58}" dt="2024-09-10T15:39:33.299" v="409" actId="790"/>
          <ac:spMkLst>
            <pc:docMk/>
            <pc:sldMk cId="4203582286" sldId="4099"/>
            <ac:spMk id="48" creationId="{ABF9CDF7-B57E-0347-AAD4-FBDEA79B9BF7}"/>
          </ac:spMkLst>
        </pc:spChg>
        <pc:spChg chg="mod">
          <ac:chgData name="Hafiz Muhammad Salman" userId="47f5b1ff-37b9-4dd0-a37a-3bc5aec52fa1" providerId="ADAL" clId="{1D0D03E3-3226-4873-A599-0FE1608CAE58}" dt="2024-09-10T15:39:33.300" v="410" actId="790"/>
          <ac:spMkLst>
            <pc:docMk/>
            <pc:sldMk cId="4203582286" sldId="4099"/>
            <ac:spMk id="49" creationId="{0690F1CC-7338-EF4C-97CF-F1BE11CD642B}"/>
          </ac:spMkLst>
        </pc:spChg>
        <pc:spChg chg="mod">
          <ac:chgData name="Hafiz Muhammad Salman" userId="47f5b1ff-37b9-4dd0-a37a-3bc5aec52fa1" providerId="ADAL" clId="{1D0D03E3-3226-4873-A599-0FE1608CAE58}" dt="2024-09-10T15:39:33.301" v="411" actId="790"/>
          <ac:spMkLst>
            <pc:docMk/>
            <pc:sldMk cId="4203582286" sldId="4099"/>
            <ac:spMk id="50" creationId="{CE960554-3A7E-8B41-8964-4074CA0C1117}"/>
          </ac:spMkLst>
        </pc:spChg>
        <pc:spChg chg="mod">
          <ac:chgData name="Hafiz Muhammad Salman" userId="47f5b1ff-37b9-4dd0-a37a-3bc5aec52fa1" providerId="ADAL" clId="{1D0D03E3-3226-4873-A599-0FE1608CAE58}" dt="2024-09-10T15:39:33.303" v="412" actId="790"/>
          <ac:spMkLst>
            <pc:docMk/>
            <pc:sldMk cId="4203582286" sldId="4099"/>
            <ac:spMk id="51" creationId="{460526F9-0EB6-7843-87E0-751DFDEF773B}"/>
          </ac:spMkLst>
        </pc:spChg>
        <pc:spChg chg="mod">
          <ac:chgData name="Hafiz Muhammad Salman" userId="47f5b1ff-37b9-4dd0-a37a-3bc5aec52fa1" providerId="ADAL" clId="{1D0D03E3-3226-4873-A599-0FE1608CAE58}" dt="2024-09-10T15:39:33.304" v="413" actId="790"/>
          <ac:spMkLst>
            <pc:docMk/>
            <pc:sldMk cId="4203582286" sldId="4099"/>
            <ac:spMk id="52" creationId="{6959C8ED-1A2D-7846-A397-6EBBE7A0AFE4}"/>
          </ac:spMkLst>
        </pc:spChg>
        <pc:spChg chg="mod">
          <ac:chgData name="Hafiz Muhammad Salman" userId="47f5b1ff-37b9-4dd0-a37a-3bc5aec52fa1" providerId="ADAL" clId="{1D0D03E3-3226-4873-A599-0FE1608CAE58}" dt="2024-09-10T15:39:33.305" v="414" actId="790"/>
          <ac:spMkLst>
            <pc:docMk/>
            <pc:sldMk cId="4203582286" sldId="4099"/>
            <ac:spMk id="53" creationId="{CE7D998C-8DD8-7E46-A102-94D06098E540}"/>
          </ac:spMkLst>
        </pc:spChg>
        <pc:spChg chg="mod">
          <ac:chgData name="Hafiz Muhammad Salman" userId="47f5b1ff-37b9-4dd0-a37a-3bc5aec52fa1" providerId="ADAL" clId="{1D0D03E3-3226-4873-A599-0FE1608CAE58}" dt="2024-09-10T15:39:33.307" v="415" actId="790"/>
          <ac:spMkLst>
            <pc:docMk/>
            <pc:sldMk cId="4203582286" sldId="4099"/>
            <ac:spMk id="54" creationId="{3579D198-F91B-8A4A-9CA7-C67CA4AC8019}"/>
          </ac:spMkLst>
        </pc:spChg>
        <pc:spChg chg="mod">
          <ac:chgData name="Hafiz Muhammad Salman" userId="47f5b1ff-37b9-4dd0-a37a-3bc5aec52fa1" providerId="ADAL" clId="{1D0D03E3-3226-4873-A599-0FE1608CAE58}" dt="2024-09-10T15:39:33.308" v="416" actId="790"/>
          <ac:spMkLst>
            <pc:docMk/>
            <pc:sldMk cId="4203582286" sldId="4099"/>
            <ac:spMk id="55" creationId="{A2F66520-D880-084D-8D33-578CDEAE5890}"/>
          </ac:spMkLst>
        </pc:spChg>
        <pc:spChg chg="mod">
          <ac:chgData name="Hafiz Muhammad Salman" userId="47f5b1ff-37b9-4dd0-a37a-3bc5aec52fa1" providerId="ADAL" clId="{1D0D03E3-3226-4873-A599-0FE1608CAE58}" dt="2024-09-10T15:39:33.308" v="417" actId="790"/>
          <ac:spMkLst>
            <pc:docMk/>
            <pc:sldMk cId="4203582286" sldId="4099"/>
            <ac:spMk id="56" creationId="{166B512E-563D-D24F-AB93-37858078436F}"/>
          </ac:spMkLst>
        </pc:spChg>
        <pc:spChg chg="mod">
          <ac:chgData name="Hafiz Muhammad Salman" userId="47f5b1ff-37b9-4dd0-a37a-3bc5aec52fa1" providerId="ADAL" clId="{1D0D03E3-3226-4873-A599-0FE1608CAE58}" dt="2024-09-10T15:39:33.309" v="418" actId="790"/>
          <ac:spMkLst>
            <pc:docMk/>
            <pc:sldMk cId="4203582286" sldId="4099"/>
            <ac:spMk id="57" creationId="{BAA55C42-5143-C545-8831-F64B6E1C8DA3}"/>
          </ac:spMkLst>
        </pc:spChg>
        <pc:spChg chg="mod">
          <ac:chgData name="Hafiz Muhammad Salman" userId="47f5b1ff-37b9-4dd0-a37a-3bc5aec52fa1" providerId="ADAL" clId="{1D0D03E3-3226-4873-A599-0FE1608CAE58}" dt="2024-09-10T15:39:33.310" v="419" actId="790"/>
          <ac:spMkLst>
            <pc:docMk/>
            <pc:sldMk cId="4203582286" sldId="4099"/>
            <ac:spMk id="58" creationId="{29B53499-4B29-524B-9758-E577F42108EA}"/>
          </ac:spMkLst>
        </pc:spChg>
        <pc:spChg chg="mod">
          <ac:chgData name="Hafiz Muhammad Salman" userId="47f5b1ff-37b9-4dd0-a37a-3bc5aec52fa1" providerId="ADAL" clId="{1D0D03E3-3226-4873-A599-0FE1608CAE58}" dt="2024-09-10T15:39:33.311" v="420" actId="790"/>
          <ac:spMkLst>
            <pc:docMk/>
            <pc:sldMk cId="4203582286" sldId="4099"/>
            <ac:spMk id="59" creationId="{CBFF8817-FB88-BA40-9EA5-90F786FAD9A3}"/>
          </ac:spMkLst>
        </pc:spChg>
        <pc:spChg chg="mod">
          <ac:chgData name="Hafiz Muhammad Salman" userId="47f5b1ff-37b9-4dd0-a37a-3bc5aec52fa1" providerId="ADAL" clId="{1D0D03E3-3226-4873-A599-0FE1608CAE58}" dt="2024-09-10T15:39:33.311" v="421" actId="790"/>
          <ac:spMkLst>
            <pc:docMk/>
            <pc:sldMk cId="4203582286" sldId="4099"/>
            <ac:spMk id="60" creationId="{7B2AD367-DB5C-3442-A92F-069F2BDD9FFF}"/>
          </ac:spMkLst>
        </pc:spChg>
        <pc:spChg chg="mod">
          <ac:chgData name="Hafiz Muhammad Salman" userId="47f5b1ff-37b9-4dd0-a37a-3bc5aec52fa1" providerId="ADAL" clId="{1D0D03E3-3226-4873-A599-0FE1608CAE58}" dt="2024-09-10T15:39:33.312" v="422" actId="790"/>
          <ac:spMkLst>
            <pc:docMk/>
            <pc:sldMk cId="4203582286" sldId="4099"/>
            <ac:spMk id="61" creationId="{FD9E1F63-D1B9-F24C-A933-4166B5BECF3B}"/>
          </ac:spMkLst>
        </pc:spChg>
        <pc:spChg chg="mod">
          <ac:chgData name="Hafiz Muhammad Salman" userId="47f5b1ff-37b9-4dd0-a37a-3bc5aec52fa1" providerId="ADAL" clId="{1D0D03E3-3226-4873-A599-0FE1608CAE58}" dt="2024-09-10T15:39:33.313" v="423" actId="790"/>
          <ac:spMkLst>
            <pc:docMk/>
            <pc:sldMk cId="4203582286" sldId="4099"/>
            <ac:spMk id="62" creationId="{32421A43-6338-964F-825B-7DE78C7263C1}"/>
          </ac:spMkLst>
        </pc:spChg>
        <pc:spChg chg="mod">
          <ac:chgData name="Hafiz Muhammad Salman" userId="47f5b1ff-37b9-4dd0-a37a-3bc5aec52fa1" providerId="ADAL" clId="{1D0D03E3-3226-4873-A599-0FE1608CAE58}" dt="2024-09-10T15:39:33.313" v="424" actId="790"/>
          <ac:spMkLst>
            <pc:docMk/>
            <pc:sldMk cId="4203582286" sldId="4099"/>
            <ac:spMk id="63" creationId="{7D880B4B-82BD-904C-8A93-3E98444914B2}"/>
          </ac:spMkLst>
        </pc:spChg>
        <pc:spChg chg="mod">
          <ac:chgData name="Hafiz Muhammad Salman" userId="47f5b1ff-37b9-4dd0-a37a-3bc5aec52fa1" providerId="ADAL" clId="{1D0D03E3-3226-4873-A599-0FE1608CAE58}" dt="2024-09-10T15:39:33.314" v="425" actId="790"/>
          <ac:spMkLst>
            <pc:docMk/>
            <pc:sldMk cId="4203582286" sldId="4099"/>
            <ac:spMk id="64" creationId="{DC7C4004-7FBB-034D-8EBC-111BD69E570F}"/>
          </ac:spMkLst>
        </pc:spChg>
        <pc:spChg chg="mod">
          <ac:chgData name="Hafiz Muhammad Salman" userId="47f5b1ff-37b9-4dd0-a37a-3bc5aec52fa1" providerId="ADAL" clId="{1D0D03E3-3226-4873-A599-0FE1608CAE58}" dt="2024-09-10T15:39:33.315" v="426" actId="790"/>
          <ac:spMkLst>
            <pc:docMk/>
            <pc:sldMk cId="4203582286" sldId="4099"/>
            <ac:spMk id="65" creationId="{D7E5DDC6-0A7E-694B-B348-106DE7C192B4}"/>
          </ac:spMkLst>
        </pc:spChg>
        <pc:spChg chg="mod">
          <ac:chgData name="Hafiz Muhammad Salman" userId="47f5b1ff-37b9-4dd0-a37a-3bc5aec52fa1" providerId="ADAL" clId="{1D0D03E3-3226-4873-A599-0FE1608CAE58}" dt="2024-09-10T15:39:33.316" v="427" actId="790"/>
          <ac:spMkLst>
            <pc:docMk/>
            <pc:sldMk cId="4203582286" sldId="4099"/>
            <ac:spMk id="66" creationId="{CFEBA4F9-E523-164F-9FCD-CE3DDEE3929C}"/>
          </ac:spMkLst>
        </pc:spChg>
        <pc:spChg chg="mod">
          <ac:chgData name="Hafiz Muhammad Salman" userId="47f5b1ff-37b9-4dd0-a37a-3bc5aec52fa1" providerId="ADAL" clId="{1D0D03E3-3226-4873-A599-0FE1608CAE58}" dt="2024-09-10T15:39:33.319" v="428" actId="790"/>
          <ac:spMkLst>
            <pc:docMk/>
            <pc:sldMk cId="4203582286" sldId="4099"/>
            <ac:spMk id="67" creationId="{E6A5775F-1595-384A-80F5-7BD95539A7D8}"/>
          </ac:spMkLst>
        </pc:spChg>
        <pc:spChg chg="mod">
          <ac:chgData name="Hafiz Muhammad Salman" userId="47f5b1ff-37b9-4dd0-a37a-3bc5aec52fa1" providerId="ADAL" clId="{1D0D03E3-3226-4873-A599-0FE1608CAE58}" dt="2024-09-10T15:39:33.320" v="429" actId="790"/>
          <ac:spMkLst>
            <pc:docMk/>
            <pc:sldMk cId="4203582286" sldId="4099"/>
            <ac:spMk id="68" creationId="{AD2947B4-1EB6-6A43-86C1-1CFCE123BA9E}"/>
          </ac:spMkLst>
        </pc:spChg>
        <pc:spChg chg="mod">
          <ac:chgData name="Hafiz Muhammad Salman" userId="47f5b1ff-37b9-4dd0-a37a-3bc5aec52fa1" providerId="ADAL" clId="{1D0D03E3-3226-4873-A599-0FE1608CAE58}" dt="2024-09-10T15:39:33.320" v="430" actId="790"/>
          <ac:spMkLst>
            <pc:docMk/>
            <pc:sldMk cId="4203582286" sldId="4099"/>
            <ac:spMk id="69" creationId="{20FB67EE-764C-CD4A-983C-585D97EC8C47}"/>
          </ac:spMkLst>
        </pc:spChg>
        <pc:spChg chg="mod">
          <ac:chgData name="Hafiz Muhammad Salman" userId="47f5b1ff-37b9-4dd0-a37a-3bc5aec52fa1" providerId="ADAL" clId="{1D0D03E3-3226-4873-A599-0FE1608CAE58}" dt="2024-09-10T15:39:33.322" v="431" actId="790"/>
          <ac:spMkLst>
            <pc:docMk/>
            <pc:sldMk cId="4203582286" sldId="4099"/>
            <ac:spMk id="70" creationId="{0AF8EA2E-AA1B-554A-8342-FBD61229489A}"/>
          </ac:spMkLst>
        </pc:spChg>
        <pc:spChg chg="mod">
          <ac:chgData name="Hafiz Muhammad Salman" userId="47f5b1ff-37b9-4dd0-a37a-3bc5aec52fa1" providerId="ADAL" clId="{1D0D03E3-3226-4873-A599-0FE1608CAE58}" dt="2024-09-10T15:39:33.323" v="432" actId="790"/>
          <ac:spMkLst>
            <pc:docMk/>
            <pc:sldMk cId="4203582286" sldId="4099"/>
            <ac:spMk id="71" creationId="{478396A8-1A87-3443-91E0-692BDE4109B7}"/>
          </ac:spMkLst>
        </pc:spChg>
        <pc:spChg chg="mod">
          <ac:chgData name="Hafiz Muhammad Salman" userId="47f5b1ff-37b9-4dd0-a37a-3bc5aec52fa1" providerId="ADAL" clId="{1D0D03E3-3226-4873-A599-0FE1608CAE58}" dt="2024-09-10T15:39:33.323" v="433" actId="790"/>
          <ac:spMkLst>
            <pc:docMk/>
            <pc:sldMk cId="4203582286" sldId="4099"/>
            <ac:spMk id="72" creationId="{3BB8F6D9-53BB-1044-A7B0-87516C0F4ECD}"/>
          </ac:spMkLst>
        </pc:spChg>
        <pc:spChg chg="mod">
          <ac:chgData name="Hafiz Muhammad Salman" userId="47f5b1ff-37b9-4dd0-a37a-3bc5aec52fa1" providerId="ADAL" clId="{1D0D03E3-3226-4873-A599-0FE1608CAE58}" dt="2024-09-10T15:39:33.324" v="434" actId="790"/>
          <ac:spMkLst>
            <pc:docMk/>
            <pc:sldMk cId="4203582286" sldId="4099"/>
            <ac:spMk id="73" creationId="{D85CBAE4-D540-0B45-AF3C-6CEF9939AE38}"/>
          </ac:spMkLst>
        </pc:spChg>
        <pc:spChg chg="mod">
          <ac:chgData name="Hafiz Muhammad Salman" userId="47f5b1ff-37b9-4dd0-a37a-3bc5aec52fa1" providerId="ADAL" clId="{1D0D03E3-3226-4873-A599-0FE1608CAE58}" dt="2024-09-10T15:39:33.325" v="435" actId="790"/>
          <ac:spMkLst>
            <pc:docMk/>
            <pc:sldMk cId="4203582286" sldId="4099"/>
            <ac:spMk id="74" creationId="{86AE349F-392C-E147-B53B-66A33577A57F}"/>
          </ac:spMkLst>
        </pc:spChg>
        <pc:spChg chg="mod">
          <ac:chgData name="Hafiz Muhammad Salman" userId="47f5b1ff-37b9-4dd0-a37a-3bc5aec52fa1" providerId="ADAL" clId="{1D0D03E3-3226-4873-A599-0FE1608CAE58}" dt="2024-09-10T15:39:33.327" v="436" actId="790"/>
          <ac:spMkLst>
            <pc:docMk/>
            <pc:sldMk cId="4203582286" sldId="4099"/>
            <ac:spMk id="75" creationId="{11A9FBDF-5A1F-9548-A692-1392C4258526}"/>
          </ac:spMkLst>
        </pc:spChg>
        <pc:spChg chg="mod">
          <ac:chgData name="Hafiz Muhammad Salman" userId="47f5b1ff-37b9-4dd0-a37a-3bc5aec52fa1" providerId="ADAL" clId="{1D0D03E3-3226-4873-A599-0FE1608CAE58}" dt="2024-09-10T15:39:33.329" v="437" actId="790"/>
          <ac:spMkLst>
            <pc:docMk/>
            <pc:sldMk cId="4203582286" sldId="4099"/>
            <ac:spMk id="76" creationId="{552AA24B-9B75-5246-B356-7E9B07A482AB}"/>
          </ac:spMkLst>
        </pc:spChg>
        <pc:spChg chg="mod">
          <ac:chgData name="Hafiz Muhammad Salman" userId="47f5b1ff-37b9-4dd0-a37a-3bc5aec52fa1" providerId="ADAL" clId="{1D0D03E3-3226-4873-A599-0FE1608CAE58}" dt="2024-09-10T15:39:33.330" v="438" actId="790"/>
          <ac:spMkLst>
            <pc:docMk/>
            <pc:sldMk cId="4203582286" sldId="4099"/>
            <ac:spMk id="77" creationId="{C9E2B2BB-F997-3E4B-81F7-30E7D99F7AF3}"/>
          </ac:spMkLst>
        </pc:spChg>
        <pc:spChg chg="mod">
          <ac:chgData name="Hafiz Muhammad Salman" userId="47f5b1ff-37b9-4dd0-a37a-3bc5aec52fa1" providerId="ADAL" clId="{1D0D03E3-3226-4873-A599-0FE1608CAE58}" dt="2024-09-10T15:39:33.331" v="439" actId="790"/>
          <ac:spMkLst>
            <pc:docMk/>
            <pc:sldMk cId="4203582286" sldId="4099"/>
            <ac:spMk id="78" creationId="{99642537-F36F-3C46-B770-61CB9EB07EA1}"/>
          </ac:spMkLst>
        </pc:spChg>
        <pc:spChg chg="mod">
          <ac:chgData name="Hafiz Muhammad Salman" userId="47f5b1ff-37b9-4dd0-a37a-3bc5aec52fa1" providerId="ADAL" clId="{1D0D03E3-3226-4873-A599-0FE1608CAE58}" dt="2024-09-10T15:39:33.332" v="440" actId="790"/>
          <ac:spMkLst>
            <pc:docMk/>
            <pc:sldMk cId="4203582286" sldId="4099"/>
            <ac:spMk id="79" creationId="{526F1D24-9CDF-F740-9E76-0E15CBAC17B6}"/>
          </ac:spMkLst>
        </pc:spChg>
        <pc:spChg chg="mod">
          <ac:chgData name="Hafiz Muhammad Salman" userId="47f5b1ff-37b9-4dd0-a37a-3bc5aec52fa1" providerId="ADAL" clId="{1D0D03E3-3226-4873-A599-0FE1608CAE58}" dt="2024-09-10T15:39:33.332" v="441" actId="790"/>
          <ac:spMkLst>
            <pc:docMk/>
            <pc:sldMk cId="4203582286" sldId="4099"/>
            <ac:spMk id="80" creationId="{997663D8-7FC6-7240-B7CB-6FBC7DCC5F25}"/>
          </ac:spMkLst>
        </pc:spChg>
        <pc:spChg chg="mod">
          <ac:chgData name="Hafiz Muhammad Salman" userId="47f5b1ff-37b9-4dd0-a37a-3bc5aec52fa1" providerId="ADAL" clId="{1D0D03E3-3226-4873-A599-0FE1608CAE58}" dt="2024-09-10T15:39:33.333" v="442" actId="790"/>
          <ac:spMkLst>
            <pc:docMk/>
            <pc:sldMk cId="4203582286" sldId="4099"/>
            <ac:spMk id="81" creationId="{2F4D5458-18B8-1B42-939E-A7F189BCA382}"/>
          </ac:spMkLst>
        </pc:spChg>
        <pc:spChg chg="mod">
          <ac:chgData name="Hafiz Muhammad Salman" userId="47f5b1ff-37b9-4dd0-a37a-3bc5aec52fa1" providerId="ADAL" clId="{1D0D03E3-3226-4873-A599-0FE1608CAE58}" dt="2024-09-10T15:39:33.334" v="443" actId="790"/>
          <ac:spMkLst>
            <pc:docMk/>
            <pc:sldMk cId="4203582286" sldId="4099"/>
            <ac:spMk id="82" creationId="{6C962610-9EC2-4A47-9017-3223B9A6768A}"/>
          </ac:spMkLst>
        </pc:spChg>
        <pc:spChg chg="mod">
          <ac:chgData name="Hafiz Muhammad Salman" userId="47f5b1ff-37b9-4dd0-a37a-3bc5aec52fa1" providerId="ADAL" clId="{1D0D03E3-3226-4873-A599-0FE1608CAE58}" dt="2024-09-10T15:39:33.334" v="444" actId="790"/>
          <ac:spMkLst>
            <pc:docMk/>
            <pc:sldMk cId="4203582286" sldId="4099"/>
            <ac:spMk id="83" creationId="{8CD7D188-B194-2C47-8C2D-541D753C3DB5}"/>
          </ac:spMkLst>
        </pc:spChg>
        <pc:spChg chg="mod">
          <ac:chgData name="Hafiz Muhammad Salman" userId="47f5b1ff-37b9-4dd0-a37a-3bc5aec52fa1" providerId="ADAL" clId="{1D0D03E3-3226-4873-A599-0FE1608CAE58}" dt="2024-09-10T15:39:33.336" v="445" actId="790"/>
          <ac:spMkLst>
            <pc:docMk/>
            <pc:sldMk cId="4203582286" sldId="4099"/>
            <ac:spMk id="84" creationId="{DE75CAEB-1937-8942-8895-2C9663006587}"/>
          </ac:spMkLst>
        </pc:spChg>
        <pc:spChg chg="mod">
          <ac:chgData name="Hafiz Muhammad Salman" userId="47f5b1ff-37b9-4dd0-a37a-3bc5aec52fa1" providerId="ADAL" clId="{1D0D03E3-3226-4873-A599-0FE1608CAE58}" dt="2024-09-10T15:39:33.336" v="446" actId="790"/>
          <ac:spMkLst>
            <pc:docMk/>
            <pc:sldMk cId="4203582286" sldId="4099"/>
            <ac:spMk id="85" creationId="{E0F78078-00A5-074E-9EF1-AFF917EBAD7E}"/>
          </ac:spMkLst>
        </pc:spChg>
        <pc:spChg chg="mod">
          <ac:chgData name="Hafiz Muhammad Salman" userId="47f5b1ff-37b9-4dd0-a37a-3bc5aec52fa1" providerId="ADAL" clId="{1D0D03E3-3226-4873-A599-0FE1608CAE58}" dt="2024-09-10T15:39:33.337" v="447" actId="790"/>
          <ac:spMkLst>
            <pc:docMk/>
            <pc:sldMk cId="4203582286" sldId="4099"/>
            <ac:spMk id="86" creationId="{8EB9FCE5-E976-DB45-BEBF-401883232B27}"/>
          </ac:spMkLst>
        </pc:spChg>
        <pc:spChg chg="mod">
          <ac:chgData name="Hafiz Muhammad Salman" userId="47f5b1ff-37b9-4dd0-a37a-3bc5aec52fa1" providerId="ADAL" clId="{1D0D03E3-3226-4873-A599-0FE1608CAE58}" dt="2024-09-10T15:39:33.338" v="448" actId="790"/>
          <ac:spMkLst>
            <pc:docMk/>
            <pc:sldMk cId="4203582286" sldId="4099"/>
            <ac:spMk id="87" creationId="{16AA3257-0526-1244-8D44-0397F75CAF12}"/>
          </ac:spMkLst>
        </pc:spChg>
        <pc:spChg chg="mod">
          <ac:chgData name="Hafiz Muhammad Salman" userId="47f5b1ff-37b9-4dd0-a37a-3bc5aec52fa1" providerId="ADAL" clId="{1D0D03E3-3226-4873-A599-0FE1608CAE58}" dt="2024-09-10T15:39:33.338" v="449" actId="790"/>
          <ac:spMkLst>
            <pc:docMk/>
            <pc:sldMk cId="4203582286" sldId="4099"/>
            <ac:spMk id="88" creationId="{86D1C898-FDE9-8A46-8FC0-E007E5B8EBA7}"/>
          </ac:spMkLst>
        </pc:spChg>
        <pc:spChg chg="mod">
          <ac:chgData name="Hafiz Muhammad Salman" userId="47f5b1ff-37b9-4dd0-a37a-3bc5aec52fa1" providerId="ADAL" clId="{1D0D03E3-3226-4873-A599-0FE1608CAE58}" dt="2024-09-10T15:39:33.339" v="450" actId="790"/>
          <ac:spMkLst>
            <pc:docMk/>
            <pc:sldMk cId="4203582286" sldId="4099"/>
            <ac:spMk id="89" creationId="{4AE52105-3AC3-1E4D-8D56-6C33DD462C2B}"/>
          </ac:spMkLst>
        </pc:spChg>
        <pc:spChg chg="mod">
          <ac:chgData name="Hafiz Muhammad Salman" userId="47f5b1ff-37b9-4dd0-a37a-3bc5aec52fa1" providerId="ADAL" clId="{1D0D03E3-3226-4873-A599-0FE1608CAE58}" dt="2024-09-10T15:39:33.340" v="451" actId="790"/>
          <ac:spMkLst>
            <pc:docMk/>
            <pc:sldMk cId="4203582286" sldId="4099"/>
            <ac:spMk id="90" creationId="{14F78A87-6F13-F14E-8200-52B12409A5BE}"/>
          </ac:spMkLst>
        </pc:spChg>
        <pc:spChg chg="mod">
          <ac:chgData name="Hafiz Muhammad Salman" userId="47f5b1ff-37b9-4dd0-a37a-3bc5aec52fa1" providerId="ADAL" clId="{1D0D03E3-3226-4873-A599-0FE1608CAE58}" dt="2024-09-10T15:39:33.341" v="452" actId="790"/>
          <ac:spMkLst>
            <pc:docMk/>
            <pc:sldMk cId="4203582286" sldId="4099"/>
            <ac:spMk id="91" creationId="{A5EE6BEB-003C-6B45-90A6-0F4A22F462AA}"/>
          </ac:spMkLst>
        </pc:spChg>
        <pc:spChg chg="mod">
          <ac:chgData name="Hafiz Muhammad Salman" userId="47f5b1ff-37b9-4dd0-a37a-3bc5aec52fa1" providerId="ADAL" clId="{1D0D03E3-3226-4873-A599-0FE1608CAE58}" dt="2024-09-10T15:39:33.342" v="453" actId="790"/>
          <ac:spMkLst>
            <pc:docMk/>
            <pc:sldMk cId="4203582286" sldId="4099"/>
            <ac:spMk id="92" creationId="{6EDED48E-F723-7447-8FD6-BB04760ACEA7}"/>
          </ac:spMkLst>
        </pc:spChg>
        <pc:spChg chg="mod">
          <ac:chgData name="Hafiz Muhammad Salman" userId="47f5b1ff-37b9-4dd0-a37a-3bc5aec52fa1" providerId="ADAL" clId="{1D0D03E3-3226-4873-A599-0FE1608CAE58}" dt="2024-09-10T15:39:33.343" v="454" actId="790"/>
          <ac:spMkLst>
            <pc:docMk/>
            <pc:sldMk cId="4203582286" sldId="4099"/>
            <ac:spMk id="93" creationId="{C3204057-CD19-EB4F-9044-0494AC74E228}"/>
          </ac:spMkLst>
        </pc:spChg>
        <pc:spChg chg="mod">
          <ac:chgData name="Hafiz Muhammad Salman" userId="47f5b1ff-37b9-4dd0-a37a-3bc5aec52fa1" providerId="ADAL" clId="{1D0D03E3-3226-4873-A599-0FE1608CAE58}" dt="2024-09-10T15:39:33.344" v="455" actId="790"/>
          <ac:spMkLst>
            <pc:docMk/>
            <pc:sldMk cId="4203582286" sldId="4099"/>
            <ac:spMk id="94" creationId="{53EC67A4-4647-7C43-A486-3C2A0AF05158}"/>
          </ac:spMkLst>
        </pc:spChg>
        <pc:spChg chg="mod">
          <ac:chgData name="Hafiz Muhammad Salman" userId="47f5b1ff-37b9-4dd0-a37a-3bc5aec52fa1" providerId="ADAL" clId="{1D0D03E3-3226-4873-A599-0FE1608CAE58}" dt="2024-09-10T15:39:33.345" v="456" actId="790"/>
          <ac:spMkLst>
            <pc:docMk/>
            <pc:sldMk cId="4203582286" sldId="4099"/>
            <ac:spMk id="95" creationId="{61E32D06-306D-674A-99C1-47CBA06D6C01}"/>
          </ac:spMkLst>
        </pc:spChg>
        <pc:spChg chg="mod">
          <ac:chgData name="Hafiz Muhammad Salman" userId="47f5b1ff-37b9-4dd0-a37a-3bc5aec52fa1" providerId="ADAL" clId="{1D0D03E3-3226-4873-A599-0FE1608CAE58}" dt="2024-09-10T15:39:33.345" v="457" actId="790"/>
          <ac:spMkLst>
            <pc:docMk/>
            <pc:sldMk cId="4203582286" sldId="4099"/>
            <ac:spMk id="96" creationId="{FF362F89-41C0-1747-BC0A-63F20F027F73}"/>
          </ac:spMkLst>
        </pc:spChg>
        <pc:spChg chg="mod">
          <ac:chgData name="Hafiz Muhammad Salman" userId="47f5b1ff-37b9-4dd0-a37a-3bc5aec52fa1" providerId="ADAL" clId="{1D0D03E3-3226-4873-A599-0FE1608CAE58}" dt="2024-09-10T15:39:33.346" v="458" actId="790"/>
          <ac:spMkLst>
            <pc:docMk/>
            <pc:sldMk cId="4203582286" sldId="4099"/>
            <ac:spMk id="97" creationId="{172BB3D4-993F-2C43-9F54-BC7E28E06661}"/>
          </ac:spMkLst>
        </pc:spChg>
        <pc:spChg chg="mod">
          <ac:chgData name="Hafiz Muhammad Salman" userId="47f5b1ff-37b9-4dd0-a37a-3bc5aec52fa1" providerId="ADAL" clId="{1D0D03E3-3226-4873-A599-0FE1608CAE58}" dt="2024-09-10T15:39:33.347" v="459" actId="790"/>
          <ac:spMkLst>
            <pc:docMk/>
            <pc:sldMk cId="4203582286" sldId="4099"/>
            <ac:spMk id="98" creationId="{7BD82372-CE18-5C48-94D7-D9A10616F1CA}"/>
          </ac:spMkLst>
        </pc:spChg>
        <pc:spChg chg="mod">
          <ac:chgData name="Hafiz Muhammad Salman" userId="47f5b1ff-37b9-4dd0-a37a-3bc5aec52fa1" providerId="ADAL" clId="{1D0D03E3-3226-4873-A599-0FE1608CAE58}" dt="2024-09-10T15:39:33.347" v="460" actId="790"/>
          <ac:spMkLst>
            <pc:docMk/>
            <pc:sldMk cId="4203582286" sldId="4099"/>
            <ac:spMk id="99" creationId="{60E605C0-C58E-F740-A46A-53472EB0E750}"/>
          </ac:spMkLst>
        </pc:spChg>
        <pc:spChg chg="mod">
          <ac:chgData name="Hafiz Muhammad Salman" userId="47f5b1ff-37b9-4dd0-a37a-3bc5aec52fa1" providerId="ADAL" clId="{1D0D03E3-3226-4873-A599-0FE1608CAE58}" dt="2024-09-10T15:39:33.348" v="461" actId="790"/>
          <ac:spMkLst>
            <pc:docMk/>
            <pc:sldMk cId="4203582286" sldId="4099"/>
            <ac:spMk id="100" creationId="{84715818-E132-DA49-AFA9-40FCD04BD352}"/>
          </ac:spMkLst>
        </pc:spChg>
        <pc:spChg chg="mod">
          <ac:chgData name="Hafiz Muhammad Salman" userId="47f5b1ff-37b9-4dd0-a37a-3bc5aec52fa1" providerId="ADAL" clId="{1D0D03E3-3226-4873-A599-0FE1608CAE58}" dt="2024-09-10T15:39:33.349" v="462" actId="790"/>
          <ac:spMkLst>
            <pc:docMk/>
            <pc:sldMk cId="4203582286" sldId="4099"/>
            <ac:spMk id="101" creationId="{0AF0E82B-AF6A-6B40-874C-E3B469EBD4EB}"/>
          </ac:spMkLst>
        </pc:spChg>
        <pc:spChg chg="mod">
          <ac:chgData name="Hafiz Muhammad Salman" userId="47f5b1ff-37b9-4dd0-a37a-3bc5aec52fa1" providerId="ADAL" clId="{1D0D03E3-3226-4873-A599-0FE1608CAE58}" dt="2024-09-10T15:39:33.349" v="463" actId="790"/>
          <ac:spMkLst>
            <pc:docMk/>
            <pc:sldMk cId="4203582286" sldId="4099"/>
            <ac:spMk id="102" creationId="{4FBBAB7F-ED23-6A43-904D-38E80F24742C}"/>
          </ac:spMkLst>
        </pc:spChg>
        <pc:spChg chg="mod">
          <ac:chgData name="Hafiz Muhammad Salman" userId="47f5b1ff-37b9-4dd0-a37a-3bc5aec52fa1" providerId="ADAL" clId="{1D0D03E3-3226-4873-A599-0FE1608CAE58}" dt="2024-09-10T15:39:33.350" v="464" actId="790"/>
          <ac:spMkLst>
            <pc:docMk/>
            <pc:sldMk cId="4203582286" sldId="4099"/>
            <ac:spMk id="103" creationId="{3DCD9EA2-D048-9043-A157-997BC56BD80C}"/>
          </ac:spMkLst>
        </pc:spChg>
        <pc:spChg chg="mod">
          <ac:chgData name="Hafiz Muhammad Salman" userId="47f5b1ff-37b9-4dd0-a37a-3bc5aec52fa1" providerId="ADAL" clId="{1D0D03E3-3226-4873-A599-0FE1608CAE58}" dt="2024-09-10T15:39:33.350" v="465" actId="790"/>
          <ac:spMkLst>
            <pc:docMk/>
            <pc:sldMk cId="4203582286" sldId="4099"/>
            <ac:spMk id="104" creationId="{A5691162-1B9A-E44B-B07F-2D2838776ECD}"/>
          </ac:spMkLst>
        </pc:spChg>
        <pc:spChg chg="mod">
          <ac:chgData name="Hafiz Muhammad Salman" userId="47f5b1ff-37b9-4dd0-a37a-3bc5aec52fa1" providerId="ADAL" clId="{1D0D03E3-3226-4873-A599-0FE1608CAE58}" dt="2024-09-10T15:39:33.351" v="466" actId="790"/>
          <ac:spMkLst>
            <pc:docMk/>
            <pc:sldMk cId="4203582286" sldId="4099"/>
            <ac:spMk id="105" creationId="{5A1FE574-9AB3-564E-8214-6C7FB11719A1}"/>
          </ac:spMkLst>
        </pc:spChg>
        <pc:spChg chg="mod">
          <ac:chgData name="Hafiz Muhammad Salman" userId="47f5b1ff-37b9-4dd0-a37a-3bc5aec52fa1" providerId="ADAL" clId="{1D0D03E3-3226-4873-A599-0FE1608CAE58}" dt="2024-09-10T15:39:33.352" v="467" actId="790"/>
          <ac:spMkLst>
            <pc:docMk/>
            <pc:sldMk cId="4203582286" sldId="4099"/>
            <ac:spMk id="106" creationId="{D081F51B-18C6-6446-B725-3E436F1C69AB}"/>
          </ac:spMkLst>
        </pc:spChg>
        <pc:spChg chg="mod">
          <ac:chgData name="Hafiz Muhammad Salman" userId="47f5b1ff-37b9-4dd0-a37a-3bc5aec52fa1" providerId="ADAL" clId="{1D0D03E3-3226-4873-A599-0FE1608CAE58}" dt="2024-09-10T15:39:33.352" v="468" actId="790"/>
          <ac:spMkLst>
            <pc:docMk/>
            <pc:sldMk cId="4203582286" sldId="4099"/>
            <ac:spMk id="107" creationId="{F36FE6B6-0B77-5149-B884-D452DF5299C3}"/>
          </ac:spMkLst>
        </pc:spChg>
        <pc:spChg chg="mod">
          <ac:chgData name="Hafiz Muhammad Salman" userId="47f5b1ff-37b9-4dd0-a37a-3bc5aec52fa1" providerId="ADAL" clId="{1D0D03E3-3226-4873-A599-0FE1608CAE58}" dt="2024-09-10T15:39:33.353" v="469" actId="790"/>
          <ac:spMkLst>
            <pc:docMk/>
            <pc:sldMk cId="4203582286" sldId="4099"/>
            <ac:spMk id="108" creationId="{44C07A89-5A30-3A45-BD4C-D185B8723335}"/>
          </ac:spMkLst>
        </pc:spChg>
        <pc:spChg chg="mod">
          <ac:chgData name="Hafiz Muhammad Salman" userId="47f5b1ff-37b9-4dd0-a37a-3bc5aec52fa1" providerId="ADAL" clId="{1D0D03E3-3226-4873-A599-0FE1608CAE58}" dt="2024-09-10T15:39:33.353" v="470" actId="790"/>
          <ac:spMkLst>
            <pc:docMk/>
            <pc:sldMk cId="4203582286" sldId="4099"/>
            <ac:spMk id="109" creationId="{01ADF65B-FA66-5E48-83A3-C021D0C8D99C}"/>
          </ac:spMkLst>
        </pc:spChg>
        <pc:spChg chg="mod">
          <ac:chgData name="Hafiz Muhammad Salman" userId="47f5b1ff-37b9-4dd0-a37a-3bc5aec52fa1" providerId="ADAL" clId="{1D0D03E3-3226-4873-A599-0FE1608CAE58}" dt="2024-09-10T15:39:33.354" v="471" actId="790"/>
          <ac:spMkLst>
            <pc:docMk/>
            <pc:sldMk cId="4203582286" sldId="4099"/>
            <ac:spMk id="110" creationId="{E71DBE7E-E5D6-0348-8E1E-235818916B0F}"/>
          </ac:spMkLst>
        </pc:spChg>
        <pc:spChg chg="mod">
          <ac:chgData name="Hafiz Muhammad Salman" userId="47f5b1ff-37b9-4dd0-a37a-3bc5aec52fa1" providerId="ADAL" clId="{1D0D03E3-3226-4873-A599-0FE1608CAE58}" dt="2024-09-10T15:39:33.355" v="472" actId="790"/>
          <ac:spMkLst>
            <pc:docMk/>
            <pc:sldMk cId="4203582286" sldId="4099"/>
            <ac:spMk id="111" creationId="{D8139592-3843-E14B-AC06-E8AF7D66C90D}"/>
          </ac:spMkLst>
        </pc:spChg>
        <pc:spChg chg="mod">
          <ac:chgData name="Hafiz Muhammad Salman" userId="47f5b1ff-37b9-4dd0-a37a-3bc5aec52fa1" providerId="ADAL" clId="{1D0D03E3-3226-4873-A599-0FE1608CAE58}" dt="2024-09-10T15:39:33.356" v="473" actId="790"/>
          <ac:spMkLst>
            <pc:docMk/>
            <pc:sldMk cId="4203582286" sldId="4099"/>
            <ac:spMk id="112" creationId="{AFF5102C-DFC3-F641-B1B9-68A8C224DBB9}"/>
          </ac:spMkLst>
        </pc:spChg>
        <pc:spChg chg="mod">
          <ac:chgData name="Hafiz Muhammad Salman" userId="47f5b1ff-37b9-4dd0-a37a-3bc5aec52fa1" providerId="ADAL" clId="{1D0D03E3-3226-4873-A599-0FE1608CAE58}" dt="2024-09-10T15:39:33.357" v="474" actId="790"/>
          <ac:spMkLst>
            <pc:docMk/>
            <pc:sldMk cId="4203582286" sldId="4099"/>
            <ac:spMk id="113" creationId="{B57B23C2-5913-FE44-9198-6C9CB1F9DAEB}"/>
          </ac:spMkLst>
        </pc:spChg>
        <pc:spChg chg="mod">
          <ac:chgData name="Hafiz Muhammad Salman" userId="47f5b1ff-37b9-4dd0-a37a-3bc5aec52fa1" providerId="ADAL" clId="{1D0D03E3-3226-4873-A599-0FE1608CAE58}" dt="2024-09-10T15:39:33.357" v="475" actId="790"/>
          <ac:spMkLst>
            <pc:docMk/>
            <pc:sldMk cId="4203582286" sldId="4099"/>
            <ac:spMk id="114" creationId="{AE120EA9-9B1B-104D-8D68-2B561299CDDE}"/>
          </ac:spMkLst>
        </pc:spChg>
        <pc:spChg chg="mod">
          <ac:chgData name="Hafiz Muhammad Salman" userId="47f5b1ff-37b9-4dd0-a37a-3bc5aec52fa1" providerId="ADAL" clId="{1D0D03E3-3226-4873-A599-0FE1608CAE58}" dt="2024-09-10T15:39:33.358" v="476" actId="790"/>
          <ac:spMkLst>
            <pc:docMk/>
            <pc:sldMk cId="4203582286" sldId="4099"/>
            <ac:spMk id="115" creationId="{68C52B21-021B-7340-9C46-C15CCC49CA8F}"/>
          </ac:spMkLst>
        </pc:spChg>
        <pc:spChg chg="mod">
          <ac:chgData name="Hafiz Muhammad Salman" userId="47f5b1ff-37b9-4dd0-a37a-3bc5aec52fa1" providerId="ADAL" clId="{1D0D03E3-3226-4873-A599-0FE1608CAE58}" dt="2024-09-10T15:39:33.359" v="477" actId="790"/>
          <ac:spMkLst>
            <pc:docMk/>
            <pc:sldMk cId="4203582286" sldId="4099"/>
            <ac:spMk id="116" creationId="{D32BC6FF-7374-454C-8934-11D8B07323C6}"/>
          </ac:spMkLst>
        </pc:spChg>
        <pc:spChg chg="mod">
          <ac:chgData name="Hafiz Muhammad Salman" userId="47f5b1ff-37b9-4dd0-a37a-3bc5aec52fa1" providerId="ADAL" clId="{1D0D03E3-3226-4873-A599-0FE1608CAE58}" dt="2024-09-10T15:39:33.359" v="478" actId="790"/>
          <ac:spMkLst>
            <pc:docMk/>
            <pc:sldMk cId="4203582286" sldId="4099"/>
            <ac:spMk id="117" creationId="{9294568F-4655-6142-B745-3B2807AB5DD6}"/>
          </ac:spMkLst>
        </pc:spChg>
        <pc:spChg chg="mod">
          <ac:chgData name="Hafiz Muhammad Salman" userId="47f5b1ff-37b9-4dd0-a37a-3bc5aec52fa1" providerId="ADAL" clId="{1D0D03E3-3226-4873-A599-0FE1608CAE58}" dt="2024-09-10T15:39:33.360" v="479" actId="790"/>
          <ac:spMkLst>
            <pc:docMk/>
            <pc:sldMk cId="4203582286" sldId="4099"/>
            <ac:spMk id="118" creationId="{28FE3A44-4578-054A-9EB3-93AC614CC5F4}"/>
          </ac:spMkLst>
        </pc:spChg>
        <pc:spChg chg="mod">
          <ac:chgData name="Hafiz Muhammad Salman" userId="47f5b1ff-37b9-4dd0-a37a-3bc5aec52fa1" providerId="ADAL" clId="{1D0D03E3-3226-4873-A599-0FE1608CAE58}" dt="2024-09-10T15:39:33.362" v="480" actId="790"/>
          <ac:spMkLst>
            <pc:docMk/>
            <pc:sldMk cId="4203582286" sldId="4099"/>
            <ac:spMk id="119" creationId="{4D6568E7-1888-A048-953A-15F2CBAF1811}"/>
          </ac:spMkLst>
        </pc:spChg>
        <pc:spChg chg="mod">
          <ac:chgData name="Hafiz Muhammad Salman" userId="47f5b1ff-37b9-4dd0-a37a-3bc5aec52fa1" providerId="ADAL" clId="{1D0D03E3-3226-4873-A599-0FE1608CAE58}" dt="2024-09-10T15:39:33.362" v="481" actId="790"/>
          <ac:spMkLst>
            <pc:docMk/>
            <pc:sldMk cId="4203582286" sldId="4099"/>
            <ac:spMk id="120" creationId="{D89F06FC-0072-2949-A0C6-E8730DA4871E}"/>
          </ac:spMkLst>
        </pc:spChg>
        <pc:spChg chg="mod">
          <ac:chgData name="Hafiz Muhammad Salman" userId="47f5b1ff-37b9-4dd0-a37a-3bc5aec52fa1" providerId="ADAL" clId="{1D0D03E3-3226-4873-A599-0FE1608CAE58}" dt="2024-09-10T15:39:33.363" v="482" actId="790"/>
          <ac:spMkLst>
            <pc:docMk/>
            <pc:sldMk cId="4203582286" sldId="4099"/>
            <ac:spMk id="121" creationId="{6F9C9DBD-4F94-3D41-ABCE-793C06734784}"/>
          </ac:spMkLst>
        </pc:spChg>
        <pc:spChg chg="mod">
          <ac:chgData name="Hafiz Muhammad Salman" userId="47f5b1ff-37b9-4dd0-a37a-3bc5aec52fa1" providerId="ADAL" clId="{1D0D03E3-3226-4873-A599-0FE1608CAE58}" dt="2024-09-10T15:39:33.364" v="483" actId="790"/>
          <ac:spMkLst>
            <pc:docMk/>
            <pc:sldMk cId="4203582286" sldId="4099"/>
            <ac:spMk id="122" creationId="{F182FF68-4AD6-D148-B1C0-A7AFB99E91D4}"/>
          </ac:spMkLst>
        </pc:spChg>
        <pc:spChg chg="mod">
          <ac:chgData name="Hafiz Muhammad Salman" userId="47f5b1ff-37b9-4dd0-a37a-3bc5aec52fa1" providerId="ADAL" clId="{1D0D03E3-3226-4873-A599-0FE1608CAE58}" dt="2024-09-10T15:39:33.364" v="484" actId="790"/>
          <ac:spMkLst>
            <pc:docMk/>
            <pc:sldMk cId="4203582286" sldId="4099"/>
            <ac:spMk id="123" creationId="{B9A3B83F-741C-8C46-B370-A51E2A4F2351}"/>
          </ac:spMkLst>
        </pc:spChg>
        <pc:spChg chg="mod">
          <ac:chgData name="Hafiz Muhammad Salman" userId="47f5b1ff-37b9-4dd0-a37a-3bc5aec52fa1" providerId="ADAL" clId="{1D0D03E3-3226-4873-A599-0FE1608CAE58}" dt="2024-09-10T15:39:33.365" v="485" actId="790"/>
          <ac:spMkLst>
            <pc:docMk/>
            <pc:sldMk cId="4203582286" sldId="4099"/>
            <ac:spMk id="126" creationId="{B6CC6068-48B7-4C48-8233-31950A6257DD}"/>
          </ac:spMkLst>
        </pc:spChg>
        <pc:spChg chg="mod">
          <ac:chgData name="Hafiz Muhammad Salman" userId="47f5b1ff-37b9-4dd0-a37a-3bc5aec52fa1" providerId="ADAL" clId="{1D0D03E3-3226-4873-A599-0FE1608CAE58}" dt="2024-09-10T15:39:33.366" v="486" actId="790"/>
          <ac:spMkLst>
            <pc:docMk/>
            <pc:sldMk cId="4203582286" sldId="4099"/>
            <ac:spMk id="127" creationId="{A2624E91-71C3-DC42-8771-B589A8707274}"/>
          </ac:spMkLst>
        </pc:spChg>
        <pc:spChg chg="mod">
          <ac:chgData name="Hafiz Muhammad Salman" userId="47f5b1ff-37b9-4dd0-a37a-3bc5aec52fa1" providerId="ADAL" clId="{1D0D03E3-3226-4873-A599-0FE1608CAE58}" dt="2024-09-10T15:39:33.367" v="487" actId="790"/>
          <ac:spMkLst>
            <pc:docMk/>
            <pc:sldMk cId="4203582286" sldId="4099"/>
            <ac:spMk id="128" creationId="{8AAF4ACC-20ED-2248-8180-A2CEC4C0C7A0}"/>
          </ac:spMkLst>
        </pc:spChg>
        <pc:spChg chg="mod">
          <ac:chgData name="Hafiz Muhammad Salman" userId="47f5b1ff-37b9-4dd0-a37a-3bc5aec52fa1" providerId="ADAL" clId="{1D0D03E3-3226-4873-A599-0FE1608CAE58}" dt="2024-09-10T15:39:33.368" v="488" actId="790"/>
          <ac:spMkLst>
            <pc:docMk/>
            <pc:sldMk cId="4203582286" sldId="4099"/>
            <ac:spMk id="129" creationId="{6AFC7E7F-C7FD-3E46-B99D-51FD975CB9AC}"/>
          </ac:spMkLst>
        </pc:spChg>
        <pc:spChg chg="mod">
          <ac:chgData name="Hafiz Muhammad Salman" userId="47f5b1ff-37b9-4dd0-a37a-3bc5aec52fa1" providerId="ADAL" clId="{1D0D03E3-3226-4873-A599-0FE1608CAE58}" dt="2024-09-10T15:39:33.368" v="489" actId="790"/>
          <ac:spMkLst>
            <pc:docMk/>
            <pc:sldMk cId="4203582286" sldId="4099"/>
            <ac:spMk id="130" creationId="{E074C116-F29D-2F4E-80F4-13F6FF7272F0}"/>
          </ac:spMkLst>
        </pc:spChg>
        <pc:spChg chg="mod">
          <ac:chgData name="Hafiz Muhammad Salman" userId="47f5b1ff-37b9-4dd0-a37a-3bc5aec52fa1" providerId="ADAL" clId="{1D0D03E3-3226-4873-A599-0FE1608CAE58}" dt="2024-09-10T15:39:33.370" v="490" actId="790"/>
          <ac:spMkLst>
            <pc:docMk/>
            <pc:sldMk cId="4203582286" sldId="4099"/>
            <ac:spMk id="131" creationId="{99888DB1-ACAE-E441-81BA-8B68C9F6CA75}"/>
          </ac:spMkLst>
        </pc:spChg>
        <pc:spChg chg="mod">
          <ac:chgData name="Hafiz Muhammad Salman" userId="47f5b1ff-37b9-4dd0-a37a-3bc5aec52fa1" providerId="ADAL" clId="{1D0D03E3-3226-4873-A599-0FE1608CAE58}" dt="2024-09-10T15:39:33.370" v="491" actId="790"/>
          <ac:spMkLst>
            <pc:docMk/>
            <pc:sldMk cId="4203582286" sldId="4099"/>
            <ac:spMk id="132" creationId="{63473E5B-7332-F14D-ABE5-4C258BE163C9}"/>
          </ac:spMkLst>
        </pc:spChg>
        <pc:spChg chg="mod">
          <ac:chgData name="Hafiz Muhammad Salman" userId="47f5b1ff-37b9-4dd0-a37a-3bc5aec52fa1" providerId="ADAL" clId="{1D0D03E3-3226-4873-A599-0FE1608CAE58}" dt="2024-09-10T15:39:33.371" v="492" actId="790"/>
          <ac:spMkLst>
            <pc:docMk/>
            <pc:sldMk cId="4203582286" sldId="4099"/>
            <ac:spMk id="133" creationId="{D1C53AEA-E088-6C4E-B710-C985CFE7038A}"/>
          </ac:spMkLst>
        </pc:spChg>
        <pc:spChg chg="mod">
          <ac:chgData name="Hafiz Muhammad Salman" userId="47f5b1ff-37b9-4dd0-a37a-3bc5aec52fa1" providerId="ADAL" clId="{1D0D03E3-3226-4873-A599-0FE1608CAE58}" dt="2024-09-10T15:39:33.376" v="493" actId="790"/>
          <ac:spMkLst>
            <pc:docMk/>
            <pc:sldMk cId="4203582286" sldId="4099"/>
            <ac:spMk id="134" creationId="{B2971107-E495-5B40-8891-864939079415}"/>
          </ac:spMkLst>
        </pc:spChg>
        <pc:spChg chg="mod">
          <ac:chgData name="Hafiz Muhammad Salman" userId="47f5b1ff-37b9-4dd0-a37a-3bc5aec52fa1" providerId="ADAL" clId="{1D0D03E3-3226-4873-A599-0FE1608CAE58}" dt="2024-09-10T15:39:33.377" v="494" actId="790"/>
          <ac:spMkLst>
            <pc:docMk/>
            <pc:sldMk cId="4203582286" sldId="4099"/>
            <ac:spMk id="135" creationId="{4515C36B-1B04-8A44-B51C-3992D2981BEF}"/>
          </ac:spMkLst>
        </pc:spChg>
      </pc:sldChg>
      <pc:sldChg chg="addSp delSp modSp mod ord">
        <pc:chgData name="Hafiz Muhammad Salman" userId="47f5b1ff-37b9-4dd0-a37a-3bc5aec52fa1" providerId="ADAL" clId="{1D0D03E3-3226-4873-A599-0FE1608CAE58}" dt="2024-09-17T11:45:42.557" v="4759" actId="20577"/>
        <pc:sldMkLst>
          <pc:docMk/>
          <pc:sldMk cId="2984348907" sldId="4100"/>
        </pc:sldMkLst>
        <pc:spChg chg="mod">
          <ac:chgData name="Hafiz Muhammad Salman" userId="47f5b1ff-37b9-4dd0-a37a-3bc5aec52fa1" providerId="ADAL" clId="{1D0D03E3-3226-4873-A599-0FE1608CAE58}" dt="2024-09-10T15:45:59.093" v="933" actId="20577"/>
          <ac:spMkLst>
            <pc:docMk/>
            <pc:sldMk cId="2984348907" sldId="4100"/>
            <ac:spMk id="2" creationId="{71FA7A26-1513-4B66-993A-FE4A47410708}"/>
          </ac:spMkLst>
        </pc:spChg>
        <pc:spChg chg="mod">
          <ac:chgData name="Hafiz Muhammad Salman" userId="47f5b1ff-37b9-4dd0-a37a-3bc5aec52fa1" providerId="ADAL" clId="{1D0D03E3-3226-4873-A599-0FE1608CAE58}" dt="2024-09-10T15:39:33.723" v="495" actId="790"/>
          <ac:spMkLst>
            <pc:docMk/>
            <pc:sldMk cId="2984348907" sldId="4100"/>
            <ac:spMk id="43" creationId="{7C2ABBD9-BBC5-C744-A88A-B0FB6D066E4D}"/>
          </ac:spMkLst>
        </pc:spChg>
        <pc:spChg chg="mod">
          <ac:chgData name="Hafiz Muhammad Salman" userId="47f5b1ff-37b9-4dd0-a37a-3bc5aec52fa1" providerId="ADAL" clId="{1D0D03E3-3226-4873-A599-0FE1608CAE58}" dt="2024-09-10T15:39:33.724" v="496" actId="790"/>
          <ac:spMkLst>
            <pc:docMk/>
            <pc:sldMk cId="2984348907" sldId="4100"/>
            <ac:spMk id="44" creationId="{B89D6FCE-8A07-2F4B-BC7C-28593783ECCF}"/>
          </ac:spMkLst>
        </pc:spChg>
        <pc:spChg chg="mod">
          <ac:chgData name="Hafiz Muhammad Salman" userId="47f5b1ff-37b9-4dd0-a37a-3bc5aec52fa1" providerId="ADAL" clId="{1D0D03E3-3226-4873-A599-0FE1608CAE58}" dt="2024-09-10T15:39:33.724" v="497" actId="790"/>
          <ac:spMkLst>
            <pc:docMk/>
            <pc:sldMk cId="2984348907" sldId="4100"/>
            <ac:spMk id="45" creationId="{128F6F9B-F7C8-1845-9B4C-0EC0496EC080}"/>
          </ac:spMkLst>
        </pc:spChg>
        <pc:spChg chg="mod">
          <ac:chgData name="Hafiz Muhammad Salman" userId="47f5b1ff-37b9-4dd0-a37a-3bc5aec52fa1" providerId="ADAL" clId="{1D0D03E3-3226-4873-A599-0FE1608CAE58}" dt="2024-09-10T15:39:33.724" v="498" actId="790"/>
          <ac:spMkLst>
            <pc:docMk/>
            <pc:sldMk cId="2984348907" sldId="4100"/>
            <ac:spMk id="46" creationId="{9C64BCDC-E2F0-E146-88D7-41FFB1673416}"/>
          </ac:spMkLst>
        </pc:spChg>
        <pc:spChg chg="mod">
          <ac:chgData name="Hafiz Muhammad Salman" userId="47f5b1ff-37b9-4dd0-a37a-3bc5aec52fa1" providerId="ADAL" clId="{1D0D03E3-3226-4873-A599-0FE1608CAE58}" dt="2024-09-10T15:39:33.724" v="499" actId="790"/>
          <ac:spMkLst>
            <pc:docMk/>
            <pc:sldMk cId="2984348907" sldId="4100"/>
            <ac:spMk id="47" creationId="{1C408270-55D1-804D-82D7-1476B5E43978}"/>
          </ac:spMkLst>
        </pc:spChg>
        <pc:spChg chg="mod">
          <ac:chgData name="Hafiz Muhammad Salman" userId="47f5b1ff-37b9-4dd0-a37a-3bc5aec52fa1" providerId="ADAL" clId="{1D0D03E3-3226-4873-A599-0FE1608CAE58}" dt="2024-09-10T15:39:33.724" v="500" actId="790"/>
          <ac:spMkLst>
            <pc:docMk/>
            <pc:sldMk cId="2984348907" sldId="4100"/>
            <ac:spMk id="48" creationId="{EB390F12-B40C-7A45-8BC8-5810AB9255C2}"/>
          </ac:spMkLst>
        </pc:spChg>
        <pc:spChg chg="mod">
          <ac:chgData name="Hafiz Muhammad Salman" userId="47f5b1ff-37b9-4dd0-a37a-3bc5aec52fa1" providerId="ADAL" clId="{1D0D03E3-3226-4873-A599-0FE1608CAE58}" dt="2024-09-10T15:39:33.724" v="501" actId="790"/>
          <ac:spMkLst>
            <pc:docMk/>
            <pc:sldMk cId="2984348907" sldId="4100"/>
            <ac:spMk id="49" creationId="{3C5FD7B8-4C3B-B940-A6D7-C03BE6F4C89D}"/>
          </ac:spMkLst>
        </pc:spChg>
        <pc:spChg chg="mod">
          <ac:chgData name="Hafiz Muhammad Salman" userId="47f5b1ff-37b9-4dd0-a37a-3bc5aec52fa1" providerId="ADAL" clId="{1D0D03E3-3226-4873-A599-0FE1608CAE58}" dt="2024-09-10T15:39:33.724" v="502" actId="790"/>
          <ac:spMkLst>
            <pc:docMk/>
            <pc:sldMk cId="2984348907" sldId="4100"/>
            <ac:spMk id="50" creationId="{32AE572C-09D2-B149-95D6-B62DDD4AB5AD}"/>
          </ac:spMkLst>
        </pc:spChg>
        <pc:spChg chg="mod">
          <ac:chgData name="Hafiz Muhammad Salman" userId="47f5b1ff-37b9-4dd0-a37a-3bc5aec52fa1" providerId="ADAL" clId="{1D0D03E3-3226-4873-A599-0FE1608CAE58}" dt="2024-09-10T15:39:33.724" v="503" actId="790"/>
          <ac:spMkLst>
            <pc:docMk/>
            <pc:sldMk cId="2984348907" sldId="4100"/>
            <ac:spMk id="51" creationId="{2C5DEF8C-B19E-9346-8BB7-7935ACC483D8}"/>
          </ac:spMkLst>
        </pc:spChg>
        <pc:spChg chg="mod">
          <ac:chgData name="Hafiz Muhammad Salman" userId="47f5b1ff-37b9-4dd0-a37a-3bc5aec52fa1" providerId="ADAL" clId="{1D0D03E3-3226-4873-A599-0FE1608CAE58}" dt="2024-09-10T15:39:33.724" v="504" actId="790"/>
          <ac:spMkLst>
            <pc:docMk/>
            <pc:sldMk cId="2984348907" sldId="4100"/>
            <ac:spMk id="52" creationId="{268030AB-902E-4048-96C9-C613F7151002}"/>
          </ac:spMkLst>
        </pc:spChg>
        <pc:spChg chg="mod">
          <ac:chgData name="Hafiz Muhammad Salman" userId="47f5b1ff-37b9-4dd0-a37a-3bc5aec52fa1" providerId="ADAL" clId="{1D0D03E3-3226-4873-A599-0FE1608CAE58}" dt="2024-09-10T15:39:33.724" v="505" actId="790"/>
          <ac:spMkLst>
            <pc:docMk/>
            <pc:sldMk cId="2984348907" sldId="4100"/>
            <ac:spMk id="53" creationId="{C17EC142-064E-184B-8C15-51D983B8F46A}"/>
          </ac:spMkLst>
        </pc:spChg>
        <pc:spChg chg="mod">
          <ac:chgData name="Hafiz Muhammad Salman" userId="47f5b1ff-37b9-4dd0-a37a-3bc5aec52fa1" providerId="ADAL" clId="{1D0D03E3-3226-4873-A599-0FE1608CAE58}" dt="2024-09-10T15:39:33.724" v="506" actId="790"/>
          <ac:spMkLst>
            <pc:docMk/>
            <pc:sldMk cId="2984348907" sldId="4100"/>
            <ac:spMk id="54" creationId="{3D61E7B3-2989-8049-83F7-8359EB03AEE9}"/>
          </ac:spMkLst>
        </pc:spChg>
        <pc:spChg chg="mod">
          <ac:chgData name="Hafiz Muhammad Salman" userId="47f5b1ff-37b9-4dd0-a37a-3bc5aec52fa1" providerId="ADAL" clId="{1D0D03E3-3226-4873-A599-0FE1608CAE58}" dt="2024-09-10T15:39:33.724" v="507" actId="790"/>
          <ac:spMkLst>
            <pc:docMk/>
            <pc:sldMk cId="2984348907" sldId="4100"/>
            <ac:spMk id="55" creationId="{DD580A0D-D476-6F4F-A8CB-69B1C6426354}"/>
          </ac:spMkLst>
        </pc:spChg>
        <pc:spChg chg="mod">
          <ac:chgData name="Hafiz Muhammad Salman" userId="47f5b1ff-37b9-4dd0-a37a-3bc5aec52fa1" providerId="ADAL" clId="{1D0D03E3-3226-4873-A599-0FE1608CAE58}" dt="2024-09-10T15:39:33.724" v="508" actId="790"/>
          <ac:spMkLst>
            <pc:docMk/>
            <pc:sldMk cId="2984348907" sldId="4100"/>
            <ac:spMk id="56" creationId="{BC835B70-B4D7-1546-898F-8E925436C5F8}"/>
          </ac:spMkLst>
        </pc:spChg>
        <pc:spChg chg="mod">
          <ac:chgData name="Hafiz Muhammad Salman" userId="47f5b1ff-37b9-4dd0-a37a-3bc5aec52fa1" providerId="ADAL" clId="{1D0D03E3-3226-4873-A599-0FE1608CAE58}" dt="2024-09-10T15:39:33.724" v="509" actId="790"/>
          <ac:spMkLst>
            <pc:docMk/>
            <pc:sldMk cId="2984348907" sldId="4100"/>
            <ac:spMk id="57" creationId="{A5C4F64E-F8AE-364B-9B84-12A692B41AC3}"/>
          </ac:spMkLst>
        </pc:spChg>
        <pc:spChg chg="mod">
          <ac:chgData name="Hafiz Muhammad Salman" userId="47f5b1ff-37b9-4dd0-a37a-3bc5aec52fa1" providerId="ADAL" clId="{1D0D03E3-3226-4873-A599-0FE1608CAE58}" dt="2024-09-10T15:39:33.724" v="510" actId="790"/>
          <ac:spMkLst>
            <pc:docMk/>
            <pc:sldMk cId="2984348907" sldId="4100"/>
            <ac:spMk id="58" creationId="{7036E97A-E538-DB4D-9DAE-381CFDACB2B0}"/>
          </ac:spMkLst>
        </pc:spChg>
        <pc:spChg chg="mod">
          <ac:chgData name="Hafiz Muhammad Salman" userId="47f5b1ff-37b9-4dd0-a37a-3bc5aec52fa1" providerId="ADAL" clId="{1D0D03E3-3226-4873-A599-0FE1608CAE58}" dt="2024-09-10T15:39:33.724" v="511" actId="790"/>
          <ac:spMkLst>
            <pc:docMk/>
            <pc:sldMk cId="2984348907" sldId="4100"/>
            <ac:spMk id="59" creationId="{3E502D09-5E8E-034A-BA71-FA7562E6BAEB}"/>
          </ac:spMkLst>
        </pc:spChg>
        <pc:spChg chg="mod">
          <ac:chgData name="Hafiz Muhammad Salman" userId="47f5b1ff-37b9-4dd0-a37a-3bc5aec52fa1" providerId="ADAL" clId="{1D0D03E3-3226-4873-A599-0FE1608CAE58}" dt="2024-09-10T15:39:33.740" v="512" actId="790"/>
          <ac:spMkLst>
            <pc:docMk/>
            <pc:sldMk cId="2984348907" sldId="4100"/>
            <ac:spMk id="60" creationId="{80F26035-6389-2F4A-919A-7597AB01122D}"/>
          </ac:spMkLst>
        </pc:spChg>
        <pc:spChg chg="mod">
          <ac:chgData name="Hafiz Muhammad Salman" userId="47f5b1ff-37b9-4dd0-a37a-3bc5aec52fa1" providerId="ADAL" clId="{1D0D03E3-3226-4873-A599-0FE1608CAE58}" dt="2024-09-10T15:39:33.741" v="513" actId="790"/>
          <ac:spMkLst>
            <pc:docMk/>
            <pc:sldMk cId="2984348907" sldId="4100"/>
            <ac:spMk id="61" creationId="{15E90CFB-1E2C-EF4A-B1ED-6FD69DBDD9C3}"/>
          </ac:spMkLst>
        </pc:spChg>
        <pc:spChg chg="mod">
          <ac:chgData name="Hafiz Muhammad Salman" userId="47f5b1ff-37b9-4dd0-a37a-3bc5aec52fa1" providerId="ADAL" clId="{1D0D03E3-3226-4873-A599-0FE1608CAE58}" dt="2024-09-10T15:39:33.741" v="514" actId="790"/>
          <ac:spMkLst>
            <pc:docMk/>
            <pc:sldMk cId="2984348907" sldId="4100"/>
            <ac:spMk id="62" creationId="{B2400A31-1671-BB45-9745-8F05DAFCA9B5}"/>
          </ac:spMkLst>
        </pc:spChg>
        <pc:spChg chg="mod">
          <ac:chgData name="Hafiz Muhammad Salman" userId="47f5b1ff-37b9-4dd0-a37a-3bc5aec52fa1" providerId="ADAL" clId="{1D0D03E3-3226-4873-A599-0FE1608CAE58}" dt="2024-09-10T15:39:33.741" v="515" actId="790"/>
          <ac:spMkLst>
            <pc:docMk/>
            <pc:sldMk cId="2984348907" sldId="4100"/>
            <ac:spMk id="63" creationId="{9CCB2114-7721-7C48-90EE-8BF98BE7201F}"/>
          </ac:spMkLst>
        </pc:spChg>
        <pc:spChg chg="mod">
          <ac:chgData name="Hafiz Muhammad Salman" userId="47f5b1ff-37b9-4dd0-a37a-3bc5aec52fa1" providerId="ADAL" clId="{1D0D03E3-3226-4873-A599-0FE1608CAE58}" dt="2024-09-10T15:39:33.741" v="516" actId="790"/>
          <ac:spMkLst>
            <pc:docMk/>
            <pc:sldMk cId="2984348907" sldId="4100"/>
            <ac:spMk id="64" creationId="{08AB7CCF-CC82-4E41-9BD4-ACF711191AE9}"/>
          </ac:spMkLst>
        </pc:spChg>
        <pc:spChg chg="mod">
          <ac:chgData name="Hafiz Muhammad Salman" userId="47f5b1ff-37b9-4dd0-a37a-3bc5aec52fa1" providerId="ADAL" clId="{1D0D03E3-3226-4873-A599-0FE1608CAE58}" dt="2024-09-10T15:39:33.741" v="517" actId="790"/>
          <ac:spMkLst>
            <pc:docMk/>
            <pc:sldMk cId="2984348907" sldId="4100"/>
            <ac:spMk id="65" creationId="{60F1FCA0-0B55-DA42-AA15-76394CCF7CE8}"/>
          </ac:spMkLst>
        </pc:spChg>
        <pc:spChg chg="mod">
          <ac:chgData name="Hafiz Muhammad Salman" userId="47f5b1ff-37b9-4dd0-a37a-3bc5aec52fa1" providerId="ADAL" clId="{1D0D03E3-3226-4873-A599-0FE1608CAE58}" dt="2024-09-10T15:39:33.741" v="518" actId="790"/>
          <ac:spMkLst>
            <pc:docMk/>
            <pc:sldMk cId="2984348907" sldId="4100"/>
            <ac:spMk id="66" creationId="{36E9D02B-3D7D-A54F-BC3A-460483287FD4}"/>
          </ac:spMkLst>
        </pc:spChg>
        <pc:spChg chg="mod">
          <ac:chgData name="Hafiz Muhammad Salman" userId="47f5b1ff-37b9-4dd0-a37a-3bc5aec52fa1" providerId="ADAL" clId="{1D0D03E3-3226-4873-A599-0FE1608CAE58}" dt="2024-09-10T15:39:33.741" v="519" actId="790"/>
          <ac:spMkLst>
            <pc:docMk/>
            <pc:sldMk cId="2984348907" sldId="4100"/>
            <ac:spMk id="67" creationId="{1ABAD993-1B69-BE43-9F7C-3D6B462DA21E}"/>
          </ac:spMkLst>
        </pc:spChg>
        <pc:spChg chg="mod">
          <ac:chgData name="Hafiz Muhammad Salman" userId="47f5b1ff-37b9-4dd0-a37a-3bc5aec52fa1" providerId="ADAL" clId="{1D0D03E3-3226-4873-A599-0FE1608CAE58}" dt="2024-09-10T15:39:33.741" v="520" actId="790"/>
          <ac:spMkLst>
            <pc:docMk/>
            <pc:sldMk cId="2984348907" sldId="4100"/>
            <ac:spMk id="68" creationId="{D4260BC1-65B0-0246-B08D-3F1827008025}"/>
          </ac:spMkLst>
        </pc:spChg>
        <pc:spChg chg="mod">
          <ac:chgData name="Hafiz Muhammad Salman" userId="47f5b1ff-37b9-4dd0-a37a-3bc5aec52fa1" providerId="ADAL" clId="{1D0D03E3-3226-4873-A599-0FE1608CAE58}" dt="2024-09-10T15:39:33.741" v="521" actId="790"/>
          <ac:spMkLst>
            <pc:docMk/>
            <pc:sldMk cId="2984348907" sldId="4100"/>
            <ac:spMk id="69" creationId="{EF07CAC8-6A35-DB44-BD69-BD5D91A2E37C}"/>
          </ac:spMkLst>
        </pc:spChg>
        <pc:spChg chg="mod">
          <ac:chgData name="Hafiz Muhammad Salman" userId="47f5b1ff-37b9-4dd0-a37a-3bc5aec52fa1" providerId="ADAL" clId="{1D0D03E3-3226-4873-A599-0FE1608CAE58}" dt="2024-09-10T15:39:33.741" v="522" actId="790"/>
          <ac:spMkLst>
            <pc:docMk/>
            <pc:sldMk cId="2984348907" sldId="4100"/>
            <ac:spMk id="70" creationId="{0EF52984-C20C-9447-8DD3-28FAB8F93312}"/>
          </ac:spMkLst>
        </pc:spChg>
        <pc:spChg chg="mod">
          <ac:chgData name="Hafiz Muhammad Salman" userId="47f5b1ff-37b9-4dd0-a37a-3bc5aec52fa1" providerId="ADAL" clId="{1D0D03E3-3226-4873-A599-0FE1608CAE58}" dt="2024-09-10T15:39:33.741" v="523" actId="790"/>
          <ac:spMkLst>
            <pc:docMk/>
            <pc:sldMk cId="2984348907" sldId="4100"/>
            <ac:spMk id="71" creationId="{D66540D1-4BAC-5142-9894-F08B20D57EF1}"/>
          </ac:spMkLst>
        </pc:spChg>
        <pc:spChg chg="mod">
          <ac:chgData name="Hafiz Muhammad Salman" userId="47f5b1ff-37b9-4dd0-a37a-3bc5aec52fa1" providerId="ADAL" clId="{1D0D03E3-3226-4873-A599-0FE1608CAE58}" dt="2024-09-10T15:39:33.741" v="524" actId="790"/>
          <ac:spMkLst>
            <pc:docMk/>
            <pc:sldMk cId="2984348907" sldId="4100"/>
            <ac:spMk id="72" creationId="{5737805B-54E0-4A47-AC01-0D1BDA267497}"/>
          </ac:spMkLst>
        </pc:spChg>
        <pc:spChg chg="mod">
          <ac:chgData name="Hafiz Muhammad Salman" userId="47f5b1ff-37b9-4dd0-a37a-3bc5aec52fa1" providerId="ADAL" clId="{1D0D03E3-3226-4873-A599-0FE1608CAE58}" dt="2024-09-10T15:39:33.741" v="525" actId="790"/>
          <ac:spMkLst>
            <pc:docMk/>
            <pc:sldMk cId="2984348907" sldId="4100"/>
            <ac:spMk id="73" creationId="{91DC43D2-97F8-1C4D-B8DA-A62FF50701D4}"/>
          </ac:spMkLst>
        </pc:spChg>
        <pc:spChg chg="mod">
          <ac:chgData name="Hafiz Muhammad Salman" userId="47f5b1ff-37b9-4dd0-a37a-3bc5aec52fa1" providerId="ADAL" clId="{1D0D03E3-3226-4873-A599-0FE1608CAE58}" dt="2024-09-10T15:39:33.741" v="526" actId="790"/>
          <ac:spMkLst>
            <pc:docMk/>
            <pc:sldMk cId="2984348907" sldId="4100"/>
            <ac:spMk id="74" creationId="{ECFCF262-74DE-F84F-887D-99629AD08806}"/>
          </ac:spMkLst>
        </pc:spChg>
        <pc:spChg chg="mod">
          <ac:chgData name="Hafiz Muhammad Salman" userId="47f5b1ff-37b9-4dd0-a37a-3bc5aec52fa1" providerId="ADAL" clId="{1D0D03E3-3226-4873-A599-0FE1608CAE58}" dt="2024-09-10T15:39:33.741" v="527" actId="790"/>
          <ac:spMkLst>
            <pc:docMk/>
            <pc:sldMk cId="2984348907" sldId="4100"/>
            <ac:spMk id="75" creationId="{C467DFE2-0020-9048-A6E0-E7CC380CDE65}"/>
          </ac:spMkLst>
        </pc:spChg>
        <pc:spChg chg="mod">
          <ac:chgData name="Hafiz Muhammad Salman" userId="47f5b1ff-37b9-4dd0-a37a-3bc5aec52fa1" providerId="ADAL" clId="{1D0D03E3-3226-4873-A599-0FE1608CAE58}" dt="2024-09-10T15:39:33.741" v="528" actId="790"/>
          <ac:spMkLst>
            <pc:docMk/>
            <pc:sldMk cId="2984348907" sldId="4100"/>
            <ac:spMk id="76" creationId="{85432AD6-14B3-124D-9ABB-1521DEBE7E52}"/>
          </ac:spMkLst>
        </pc:spChg>
        <pc:spChg chg="mod">
          <ac:chgData name="Hafiz Muhammad Salman" userId="47f5b1ff-37b9-4dd0-a37a-3bc5aec52fa1" providerId="ADAL" clId="{1D0D03E3-3226-4873-A599-0FE1608CAE58}" dt="2024-09-10T15:39:33.741" v="529" actId="790"/>
          <ac:spMkLst>
            <pc:docMk/>
            <pc:sldMk cId="2984348907" sldId="4100"/>
            <ac:spMk id="77" creationId="{E3C4B98A-7F6F-754E-907A-ACCA2379A358}"/>
          </ac:spMkLst>
        </pc:spChg>
        <pc:spChg chg="mod">
          <ac:chgData name="Hafiz Muhammad Salman" userId="47f5b1ff-37b9-4dd0-a37a-3bc5aec52fa1" providerId="ADAL" clId="{1D0D03E3-3226-4873-A599-0FE1608CAE58}" dt="2024-09-10T15:39:33.741" v="530" actId="790"/>
          <ac:spMkLst>
            <pc:docMk/>
            <pc:sldMk cId="2984348907" sldId="4100"/>
            <ac:spMk id="78" creationId="{9AE29768-EC06-7B46-9B89-62A20DF54B8B}"/>
          </ac:spMkLst>
        </pc:spChg>
        <pc:spChg chg="mod">
          <ac:chgData name="Hafiz Muhammad Salman" userId="47f5b1ff-37b9-4dd0-a37a-3bc5aec52fa1" providerId="ADAL" clId="{1D0D03E3-3226-4873-A599-0FE1608CAE58}" dt="2024-09-10T15:39:33.741" v="531" actId="790"/>
          <ac:spMkLst>
            <pc:docMk/>
            <pc:sldMk cId="2984348907" sldId="4100"/>
            <ac:spMk id="79" creationId="{7338D6DD-D1DA-FC4E-B5E4-0EA239F43804}"/>
          </ac:spMkLst>
        </pc:spChg>
        <pc:spChg chg="mod">
          <ac:chgData name="Hafiz Muhammad Salman" userId="47f5b1ff-37b9-4dd0-a37a-3bc5aec52fa1" providerId="ADAL" clId="{1D0D03E3-3226-4873-A599-0FE1608CAE58}" dt="2024-09-10T15:39:33.741" v="532" actId="790"/>
          <ac:spMkLst>
            <pc:docMk/>
            <pc:sldMk cId="2984348907" sldId="4100"/>
            <ac:spMk id="80" creationId="{8DE914EC-0B60-D44B-808F-B925A9443E0E}"/>
          </ac:spMkLst>
        </pc:spChg>
        <pc:spChg chg="mod">
          <ac:chgData name="Hafiz Muhammad Salman" userId="47f5b1ff-37b9-4dd0-a37a-3bc5aec52fa1" providerId="ADAL" clId="{1D0D03E3-3226-4873-A599-0FE1608CAE58}" dt="2024-09-10T15:39:33.741" v="533" actId="790"/>
          <ac:spMkLst>
            <pc:docMk/>
            <pc:sldMk cId="2984348907" sldId="4100"/>
            <ac:spMk id="81" creationId="{4FDE9662-0645-FA4A-BB62-535E4CB21134}"/>
          </ac:spMkLst>
        </pc:spChg>
        <pc:spChg chg="mod">
          <ac:chgData name="Hafiz Muhammad Salman" userId="47f5b1ff-37b9-4dd0-a37a-3bc5aec52fa1" providerId="ADAL" clId="{1D0D03E3-3226-4873-A599-0FE1608CAE58}" dt="2024-09-10T15:39:33.741" v="534" actId="790"/>
          <ac:spMkLst>
            <pc:docMk/>
            <pc:sldMk cId="2984348907" sldId="4100"/>
            <ac:spMk id="82" creationId="{8633A179-86D5-1240-B4C7-1D2A8D873E6B}"/>
          </ac:spMkLst>
        </pc:spChg>
        <pc:spChg chg="mod">
          <ac:chgData name="Hafiz Muhammad Salman" userId="47f5b1ff-37b9-4dd0-a37a-3bc5aec52fa1" providerId="ADAL" clId="{1D0D03E3-3226-4873-A599-0FE1608CAE58}" dt="2024-09-10T15:39:33.741" v="535" actId="790"/>
          <ac:spMkLst>
            <pc:docMk/>
            <pc:sldMk cId="2984348907" sldId="4100"/>
            <ac:spMk id="83" creationId="{0E71C735-E5FF-2841-A4F2-DA28CAF7CB51}"/>
          </ac:spMkLst>
        </pc:spChg>
        <pc:spChg chg="mod">
          <ac:chgData name="Hafiz Muhammad Salman" userId="47f5b1ff-37b9-4dd0-a37a-3bc5aec52fa1" providerId="ADAL" clId="{1D0D03E3-3226-4873-A599-0FE1608CAE58}" dt="2024-09-10T15:39:33.756" v="536" actId="790"/>
          <ac:spMkLst>
            <pc:docMk/>
            <pc:sldMk cId="2984348907" sldId="4100"/>
            <ac:spMk id="84" creationId="{3AF6A3E9-D867-BE49-8EE5-A92EB529DE34}"/>
          </ac:spMkLst>
        </pc:spChg>
        <pc:spChg chg="mod">
          <ac:chgData name="Hafiz Muhammad Salman" userId="47f5b1ff-37b9-4dd0-a37a-3bc5aec52fa1" providerId="ADAL" clId="{1D0D03E3-3226-4873-A599-0FE1608CAE58}" dt="2024-09-10T15:39:33.759" v="537" actId="790"/>
          <ac:spMkLst>
            <pc:docMk/>
            <pc:sldMk cId="2984348907" sldId="4100"/>
            <ac:spMk id="85" creationId="{44B4041E-E60E-834C-8F6C-8AE79507638C}"/>
          </ac:spMkLst>
        </pc:spChg>
        <pc:spChg chg="mod">
          <ac:chgData name="Hafiz Muhammad Salman" userId="47f5b1ff-37b9-4dd0-a37a-3bc5aec52fa1" providerId="ADAL" clId="{1D0D03E3-3226-4873-A599-0FE1608CAE58}" dt="2024-09-10T15:39:33.759" v="538" actId="790"/>
          <ac:spMkLst>
            <pc:docMk/>
            <pc:sldMk cId="2984348907" sldId="4100"/>
            <ac:spMk id="86" creationId="{A94B01C4-5558-D74D-A544-6C63C5850FA4}"/>
          </ac:spMkLst>
        </pc:spChg>
        <pc:spChg chg="mod">
          <ac:chgData name="Hafiz Muhammad Salman" userId="47f5b1ff-37b9-4dd0-a37a-3bc5aec52fa1" providerId="ADAL" clId="{1D0D03E3-3226-4873-A599-0FE1608CAE58}" dt="2024-09-10T15:39:33.759" v="539" actId="790"/>
          <ac:spMkLst>
            <pc:docMk/>
            <pc:sldMk cId="2984348907" sldId="4100"/>
            <ac:spMk id="87" creationId="{DDEB1FED-9BCB-3A41-B96E-167815D582F8}"/>
          </ac:spMkLst>
        </pc:spChg>
        <pc:spChg chg="mod">
          <ac:chgData name="Hafiz Muhammad Salman" userId="47f5b1ff-37b9-4dd0-a37a-3bc5aec52fa1" providerId="ADAL" clId="{1D0D03E3-3226-4873-A599-0FE1608CAE58}" dt="2024-09-10T15:39:33.759" v="540" actId="790"/>
          <ac:spMkLst>
            <pc:docMk/>
            <pc:sldMk cId="2984348907" sldId="4100"/>
            <ac:spMk id="88" creationId="{71FCB7E2-4AD4-5440-A1AD-AF10DC8C55EE}"/>
          </ac:spMkLst>
        </pc:spChg>
        <pc:spChg chg="mod">
          <ac:chgData name="Hafiz Muhammad Salman" userId="47f5b1ff-37b9-4dd0-a37a-3bc5aec52fa1" providerId="ADAL" clId="{1D0D03E3-3226-4873-A599-0FE1608CAE58}" dt="2024-09-10T15:39:33.759" v="541" actId="790"/>
          <ac:spMkLst>
            <pc:docMk/>
            <pc:sldMk cId="2984348907" sldId="4100"/>
            <ac:spMk id="89" creationId="{03092F4B-28A4-5F44-AA62-47C3BFDAA49D}"/>
          </ac:spMkLst>
        </pc:spChg>
        <pc:spChg chg="mod">
          <ac:chgData name="Hafiz Muhammad Salman" userId="47f5b1ff-37b9-4dd0-a37a-3bc5aec52fa1" providerId="ADAL" clId="{1D0D03E3-3226-4873-A599-0FE1608CAE58}" dt="2024-09-10T15:39:33.759" v="542" actId="790"/>
          <ac:spMkLst>
            <pc:docMk/>
            <pc:sldMk cId="2984348907" sldId="4100"/>
            <ac:spMk id="90" creationId="{A4F14B7E-1422-594A-AE01-C415B94A483B}"/>
          </ac:spMkLst>
        </pc:spChg>
        <pc:spChg chg="mod">
          <ac:chgData name="Hafiz Muhammad Salman" userId="47f5b1ff-37b9-4dd0-a37a-3bc5aec52fa1" providerId="ADAL" clId="{1D0D03E3-3226-4873-A599-0FE1608CAE58}" dt="2024-09-10T15:39:33.759" v="543" actId="790"/>
          <ac:spMkLst>
            <pc:docMk/>
            <pc:sldMk cId="2984348907" sldId="4100"/>
            <ac:spMk id="91" creationId="{D374A494-085B-D54C-A785-1BA3AAE979E4}"/>
          </ac:spMkLst>
        </pc:spChg>
        <pc:spChg chg="mod">
          <ac:chgData name="Hafiz Muhammad Salman" userId="47f5b1ff-37b9-4dd0-a37a-3bc5aec52fa1" providerId="ADAL" clId="{1D0D03E3-3226-4873-A599-0FE1608CAE58}" dt="2024-09-10T15:39:33.759" v="544" actId="790"/>
          <ac:spMkLst>
            <pc:docMk/>
            <pc:sldMk cId="2984348907" sldId="4100"/>
            <ac:spMk id="92" creationId="{537BE61C-FC5B-454E-A03E-3C19A9A3D7B2}"/>
          </ac:spMkLst>
        </pc:spChg>
        <pc:spChg chg="mod">
          <ac:chgData name="Hafiz Muhammad Salman" userId="47f5b1ff-37b9-4dd0-a37a-3bc5aec52fa1" providerId="ADAL" clId="{1D0D03E3-3226-4873-A599-0FE1608CAE58}" dt="2024-09-10T15:39:33.759" v="545" actId="790"/>
          <ac:spMkLst>
            <pc:docMk/>
            <pc:sldMk cId="2984348907" sldId="4100"/>
            <ac:spMk id="93" creationId="{2776F88E-D7CB-C848-8BA4-8B18FA098F28}"/>
          </ac:spMkLst>
        </pc:spChg>
        <pc:spChg chg="mod">
          <ac:chgData name="Hafiz Muhammad Salman" userId="47f5b1ff-37b9-4dd0-a37a-3bc5aec52fa1" providerId="ADAL" clId="{1D0D03E3-3226-4873-A599-0FE1608CAE58}" dt="2024-09-10T15:39:33.759" v="546" actId="790"/>
          <ac:spMkLst>
            <pc:docMk/>
            <pc:sldMk cId="2984348907" sldId="4100"/>
            <ac:spMk id="94" creationId="{A1203C35-6689-D54B-BB47-599FEE0703BA}"/>
          </ac:spMkLst>
        </pc:spChg>
        <pc:spChg chg="mod">
          <ac:chgData name="Hafiz Muhammad Salman" userId="47f5b1ff-37b9-4dd0-a37a-3bc5aec52fa1" providerId="ADAL" clId="{1D0D03E3-3226-4873-A599-0FE1608CAE58}" dt="2024-09-10T15:39:33.759" v="547" actId="790"/>
          <ac:spMkLst>
            <pc:docMk/>
            <pc:sldMk cId="2984348907" sldId="4100"/>
            <ac:spMk id="95" creationId="{B2C2093B-2903-7645-924E-AE557A1B4E2F}"/>
          </ac:spMkLst>
        </pc:spChg>
        <pc:spChg chg="mod">
          <ac:chgData name="Hafiz Muhammad Salman" userId="47f5b1ff-37b9-4dd0-a37a-3bc5aec52fa1" providerId="ADAL" clId="{1D0D03E3-3226-4873-A599-0FE1608CAE58}" dt="2024-09-10T15:39:33.759" v="548" actId="790"/>
          <ac:spMkLst>
            <pc:docMk/>
            <pc:sldMk cId="2984348907" sldId="4100"/>
            <ac:spMk id="96" creationId="{F8DC914E-206B-1540-9682-DF732C1AABA2}"/>
          </ac:spMkLst>
        </pc:spChg>
        <pc:spChg chg="mod">
          <ac:chgData name="Hafiz Muhammad Salman" userId="47f5b1ff-37b9-4dd0-a37a-3bc5aec52fa1" providerId="ADAL" clId="{1D0D03E3-3226-4873-A599-0FE1608CAE58}" dt="2024-09-10T15:39:33.759" v="549" actId="790"/>
          <ac:spMkLst>
            <pc:docMk/>
            <pc:sldMk cId="2984348907" sldId="4100"/>
            <ac:spMk id="97" creationId="{B6FFCBE8-A60F-AB44-9F2B-B5E525F85DED}"/>
          </ac:spMkLst>
        </pc:spChg>
        <pc:spChg chg="mod">
          <ac:chgData name="Hafiz Muhammad Salman" userId="47f5b1ff-37b9-4dd0-a37a-3bc5aec52fa1" providerId="ADAL" clId="{1D0D03E3-3226-4873-A599-0FE1608CAE58}" dt="2024-09-10T15:39:33.759" v="550" actId="790"/>
          <ac:spMkLst>
            <pc:docMk/>
            <pc:sldMk cId="2984348907" sldId="4100"/>
            <ac:spMk id="98" creationId="{ABCC7F82-E81C-AC46-9958-E758BE253B70}"/>
          </ac:spMkLst>
        </pc:spChg>
        <pc:spChg chg="mod">
          <ac:chgData name="Hafiz Muhammad Salman" userId="47f5b1ff-37b9-4dd0-a37a-3bc5aec52fa1" providerId="ADAL" clId="{1D0D03E3-3226-4873-A599-0FE1608CAE58}" dt="2024-09-10T15:39:33.759" v="551" actId="790"/>
          <ac:spMkLst>
            <pc:docMk/>
            <pc:sldMk cId="2984348907" sldId="4100"/>
            <ac:spMk id="99" creationId="{27E886E0-3179-EB48-8E9B-5A434C9B72ED}"/>
          </ac:spMkLst>
        </pc:spChg>
        <pc:spChg chg="mod">
          <ac:chgData name="Hafiz Muhammad Salman" userId="47f5b1ff-37b9-4dd0-a37a-3bc5aec52fa1" providerId="ADAL" clId="{1D0D03E3-3226-4873-A599-0FE1608CAE58}" dt="2024-09-10T15:39:33.759" v="552" actId="790"/>
          <ac:spMkLst>
            <pc:docMk/>
            <pc:sldMk cId="2984348907" sldId="4100"/>
            <ac:spMk id="100" creationId="{518DA637-C217-2040-8860-A6D82835697C}"/>
          </ac:spMkLst>
        </pc:spChg>
        <pc:spChg chg="mod">
          <ac:chgData name="Hafiz Muhammad Salman" userId="47f5b1ff-37b9-4dd0-a37a-3bc5aec52fa1" providerId="ADAL" clId="{1D0D03E3-3226-4873-A599-0FE1608CAE58}" dt="2024-09-10T15:39:33.759" v="553" actId="790"/>
          <ac:spMkLst>
            <pc:docMk/>
            <pc:sldMk cId="2984348907" sldId="4100"/>
            <ac:spMk id="101" creationId="{2D80DB7A-3D73-544A-9B3B-1736A79F99EC}"/>
          </ac:spMkLst>
        </pc:spChg>
        <pc:spChg chg="mod">
          <ac:chgData name="Hafiz Muhammad Salman" userId="47f5b1ff-37b9-4dd0-a37a-3bc5aec52fa1" providerId="ADAL" clId="{1D0D03E3-3226-4873-A599-0FE1608CAE58}" dt="2024-09-10T15:39:33.759" v="554" actId="790"/>
          <ac:spMkLst>
            <pc:docMk/>
            <pc:sldMk cId="2984348907" sldId="4100"/>
            <ac:spMk id="102" creationId="{C007FB6C-BFDF-0949-ABE0-D03402E90863}"/>
          </ac:spMkLst>
        </pc:spChg>
        <pc:spChg chg="mod">
          <ac:chgData name="Hafiz Muhammad Salman" userId="47f5b1ff-37b9-4dd0-a37a-3bc5aec52fa1" providerId="ADAL" clId="{1D0D03E3-3226-4873-A599-0FE1608CAE58}" dt="2024-09-10T15:39:33.759" v="555" actId="790"/>
          <ac:spMkLst>
            <pc:docMk/>
            <pc:sldMk cId="2984348907" sldId="4100"/>
            <ac:spMk id="103" creationId="{60D384DC-794B-9144-BA29-4A8A38D10665}"/>
          </ac:spMkLst>
        </pc:spChg>
        <pc:spChg chg="mod">
          <ac:chgData name="Hafiz Muhammad Salman" userId="47f5b1ff-37b9-4dd0-a37a-3bc5aec52fa1" providerId="ADAL" clId="{1D0D03E3-3226-4873-A599-0FE1608CAE58}" dt="2024-09-10T15:39:33.759" v="556" actId="790"/>
          <ac:spMkLst>
            <pc:docMk/>
            <pc:sldMk cId="2984348907" sldId="4100"/>
            <ac:spMk id="104" creationId="{C98463EB-5F76-F043-BCEE-2B5BE2C56B58}"/>
          </ac:spMkLst>
        </pc:spChg>
        <pc:spChg chg="mod">
          <ac:chgData name="Hafiz Muhammad Salman" userId="47f5b1ff-37b9-4dd0-a37a-3bc5aec52fa1" providerId="ADAL" clId="{1D0D03E3-3226-4873-A599-0FE1608CAE58}" dt="2024-09-10T15:39:33.759" v="557" actId="790"/>
          <ac:spMkLst>
            <pc:docMk/>
            <pc:sldMk cId="2984348907" sldId="4100"/>
            <ac:spMk id="105" creationId="{AEF8A314-7446-3E4F-8E0B-288049BCE97C}"/>
          </ac:spMkLst>
        </pc:spChg>
        <pc:spChg chg="mod">
          <ac:chgData name="Hafiz Muhammad Salman" userId="47f5b1ff-37b9-4dd0-a37a-3bc5aec52fa1" providerId="ADAL" clId="{1D0D03E3-3226-4873-A599-0FE1608CAE58}" dt="2024-09-10T15:39:33.759" v="558" actId="790"/>
          <ac:spMkLst>
            <pc:docMk/>
            <pc:sldMk cId="2984348907" sldId="4100"/>
            <ac:spMk id="106" creationId="{B0CAC1F7-C823-3549-8632-8D57E8493972}"/>
          </ac:spMkLst>
        </pc:spChg>
        <pc:spChg chg="mod">
          <ac:chgData name="Hafiz Muhammad Salman" userId="47f5b1ff-37b9-4dd0-a37a-3bc5aec52fa1" providerId="ADAL" clId="{1D0D03E3-3226-4873-A599-0FE1608CAE58}" dt="2024-09-10T15:39:33.774" v="559" actId="790"/>
          <ac:spMkLst>
            <pc:docMk/>
            <pc:sldMk cId="2984348907" sldId="4100"/>
            <ac:spMk id="107" creationId="{60CE57F0-9E16-6B42-986C-2BB9440960D7}"/>
          </ac:spMkLst>
        </pc:spChg>
        <pc:spChg chg="mod">
          <ac:chgData name="Hafiz Muhammad Salman" userId="47f5b1ff-37b9-4dd0-a37a-3bc5aec52fa1" providerId="ADAL" clId="{1D0D03E3-3226-4873-A599-0FE1608CAE58}" dt="2024-09-10T15:39:33.774" v="560" actId="790"/>
          <ac:spMkLst>
            <pc:docMk/>
            <pc:sldMk cId="2984348907" sldId="4100"/>
            <ac:spMk id="108" creationId="{E15769EC-3CE4-4540-8A3A-0B5A4863E915}"/>
          </ac:spMkLst>
        </pc:spChg>
        <pc:spChg chg="mod">
          <ac:chgData name="Hafiz Muhammad Salman" userId="47f5b1ff-37b9-4dd0-a37a-3bc5aec52fa1" providerId="ADAL" clId="{1D0D03E3-3226-4873-A599-0FE1608CAE58}" dt="2024-09-10T15:39:33.774" v="561" actId="790"/>
          <ac:spMkLst>
            <pc:docMk/>
            <pc:sldMk cId="2984348907" sldId="4100"/>
            <ac:spMk id="109" creationId="{2318D5A1-8E4F-FD4D-A072-E437369ED7C4}"/>
          </ac:spMkLst>
        </pc:spChg>
        <pc:spChg chg="mod">
          <ac:chgData name="Hafiz Muhammad Salman" userId="47f5b1ff-37b9-4dd0-a37a-3bc5aec52fa1" providerId="ADAL" clId="{1D0D03E3-3226-4873-A599-0FE1608CAE58}" dt="2024-09-10T15:39:33.774" v="562" actId="790"/>
          <ac:spMkLst>
            <pc:docMk/>
            <pc:sldMk cId="2984348907" sldId="4100"/>
            <ac:spMk id="110" creationId="{5761DB39-B4CB-D04B-A85D-E5A9018DA36B}"/>
          </ac:spMkLst>
        </pc:spChg>
        <pc:spChg chg="mod">
          <ac:chgData name="Hafiz Muhammad Salman" userId="47f5b1ff-37b9-4dd0-a37a-3bc5aec52fa1" providerId="ADAL" clId="{1D0D03E3-3226-4873-A599-0FE1608CAE58}" dt="2024-09-10T15:39:33.774" v="563" actId="790"/>
          <ac:spMkLst>
            <pc:docMk/>
            <pc:sldMk cId="2984348907" sldId="4100"/>
            <ac:spMk id="111" creationId="{7120EF9B-E117-674C-9431-46B618401F72}"/>
          </ac:spMkLst>
        </pc:spChg>
        <pc:spChg chg="mod">
          <ac:chgData name="Hafiz Muhammad Salman" userId="47f5b1ff-37b9-4dd0-a37a-3bc5aec52fa1" providerId="ADAL" clId="{1D0D03E3-3226-4873-A599-0FE1608CAE58}" dt="2024-09-10T15:39:33.774" v="564" actId="790"/>
          <ac:spMkLst>
            <pc:docMk/>
            <pc:sldMk cId="2984348907" sldId="4100"/>
            <ac:spMk id="112" creationId="{79667B63-8A24-5C4F-84B0-559E7AF48A1F}"/>
          </ac:spMkLst>
        </pc:spChg>
        <pc:spChg chg="mod">
          <ac:chgData name="Hafiz Muhammad Salman" userId="47f5b1ff-37b9-4dd0-a37a-3bc5aec52fa1" providerId="ADAL" clId="{1D0D03E3-3226-4873-A599-0FE1608CAE58}" dt="2024-09-10T15:39:33.774" v="565" actId="790"/>
          <ac:spMkLst>
            <pc:docMk/>
            <pc:sldMk cId="2984348907" sldId="4100"/>
            <ac:spMk id="113" creationId="{746A0077-B4EF-CD48-8438-75C7C93D92FE}"/>
          </ac:spMkLst>
        </pc:spChg>
        <pc:spChg chg="mod">
          <ac:chgData name="Hafiz Muhammad Salman" userId="47f5b1ff-37b9-4dd0-a37a-3bc5aec52fa1" providerId="ADAL" clId="{1D0D03E3-3226-4873-A599-0FE1608CAE58}" dt="2024-09-10T15:39:33.779" v="566" actId="790"/>
          <ac:spMkLst>
            <pc:docMk/>
            <pc:sldMk cId="2984348907" sldId="4100"/>
            <ac:spMk id="114" creationId="{F6303F22-24FA-7B4B-949C-2985C272BEB4}"/>
          </ac:spMkLst>
        </pc:spChg>
        <pc:spChg chg="mod">
          <ac:chgData name="Hafiz Muhammad Salman" userId="47f5b1ff-37b9-4dd0-a37a-3bc5aec52fa1" providerId="ADAL" clId="{1D0D03E3-3226-4873-A599-0FE1608CAE58}" dt="2024-09-10T15:39:33.779" v="567" actId="790"/>
          <ac:spMkLst>
            <pc:docMk/>
            <pc:sldMk cId="2984348907" sldId="4100"/>
            <ac:spMk id="115" creationId="{AECAC8E2-9D6D-B34D-B179-6DE5D6D08150}"/>
          </ac:spMkLst>
        </pc:spChg>
        <pc:spChg chg="mod">
          <ac:chgData name="Hafiz Muhammad Salman" userId="47f5b1ff-37b9-4dd0-a37a-3bc5aec52fa1" providerId="ADAL" clId="{1D0D03E3-3226-4873-A599-0FE1608CAE58}" dt="2024-09-10T15:39:33.779" v="568" actId="790"/>
          <ac:spMkLst>
            <pc:docMk/>
            <pc:sldMk cId="2984348907" sldId="4100"/>
            <ac:spMk id="116" creationId="{68DB749F-8E6E-894D-AF7D-C679B012C47B}"/>
          </ac:spMkLst>
        </pc:spChg>
        <pc:spChg chg="mod">
          <ac:chgData name="Hafiz Muhammad Salman" userId="47f5b1ff-37b9-4dd0-a37a-3bc5aec52fa1" providerId="ADAL" clId="{1D0D03E3-3226-4873-A599-0FE1608CAE58}" dt="2024-09-10T15:39:33.779" v="569" actId="790"/>
          <ac:spMkLst>
            <pc:docMk/>
            <pc:sldMk cId="2984348907" sldId="4100"/>
            <ac:spMk id="117" creationId="{1ABFF129-E80C-F247-A754-2125E18173ED}"/>
          </ac:spMkLst>
        </pc:spChg>
        <pc:spChg chg="mod">
          <ac:chgData name="Hafiz Muhammad Salman" userId="47f5b1ff-37b9-4dd0-a37a-3bc5aec52fa1" providerId="ADAL" clId="{1D0D03E3-3226-4873-A599-0FE1608CAE58}" dt="2024-09-10T15:39:33.779" v="570" actId="790"/>
          <ac:spMkLst>
            <pc:docMk/>
            <pc:sldMk cId="2984348907" sldId="4100"/>
            <ac:spMk id="118" creationId="{7EA4D8CC-C1B2-A14A-9C66-409A714C6357}"/>
          </ac:spMkLst>
        </pc:spChg>
        <pc:spChg chg="mod">
          <ac:chgData name="Hafiz Muhammad Salman" userId="47f5b1ff-37b9-4dd0-a37a-3bc5aec52fa1" providerId="ADAL" clId="{1D0D03E3-3226-4873-A599-0FE1608CAE58}" dt="2024-09-10T15:39:33.779" v="571" actId="790"/>
          <ac:spMkLst>
            <pc:docMk/>
            <pc:sldMk cId="2984348907" sldId="4100"/>
            <ac:spMk id="119" creationId="{A49387FC-C1C9-8640-8B35-6D58A8D1920C}"/>
          </ac:spMkLst>
        </pc:spChg>
        <pc:spChg chg="mod">
          <ac:chgData name="Hafiz Muhammad Salman" userId="47f5b1ff-37b9-4dd0-a37a-3bc5aec52fa1" providerId="ADAL" clId="{1D0D03E3-3226-4873-A599-0FE1608CAE58}" dt="2024-09-10T15:39:33.779" v="572" actId="790"/>
          <ac:spMkLst>
            <pc:docMk/>
            <pc:sldMk cId="2984348907" sldId="4100"/>
            <ac:spMk id="120" creationId="{929D6D8D-C30E-1E44-9447-2159C55BBC73}"/>
          </ac:spMkLst>
        </pc:spChg>
        <pc:spChg chg="mod">
          <ac:chgData name="Hafiz Muhammad Salman" userId="47f5b1ff-37b9-4dd0-a37a-3bc5aec52fa1" providerId="ADAL" clId="{1D0D03E3-3226-4873-A599-0FE1608CAE58}" dt="2024-09-10T15:39:33.779" v="573" actId="790"/>
          <ac:spMkLst>
            <pc:docMk/>
            <pc:sldMk cId="2984348907" sldId="4100"/>
            <ac:spMk id="121" creationId="{AA59C61D-8D16-4F45-82E5-8A19584579B4}"/>
          </ac:spMkLst>
        </pc:spChg>
        <pc:spChg chg="mod">
          <ac:chgData name="Hafiz Muhammad Salman" userId="47f5b1ff-37b9-4dd0-a37a-3bc5aec52fa1" providerId="ADAL" clId="{1D0D03E3-3226-4873-A599-0FE1608CAE58}" dt="2024-09-10T15:39:33.779" v="574" actId="790"/>
          <ac:spMkLst>
            <pc:docMk/>
            <pc:sldMk cId="2984348907" sldId="4100"/>
            <ac:spMk id="122" creationId="{532D4F21-EDC3-5A43-BEE7-D7F38D49BCF1}"/>
          </ac:spMkLst>
        </pc:spChg>
        <pc:spChg chg="mod">
          <ac:chgData name="Hafiz Muhammad Salman" userId="47f5b1ff-37b9-4dd0-a37a-3bc5aec52fa1" providerId="ADAL" clId="{1D0D03E3-3226-4873-A599-0FE1608CAE58}" dt="2024-09-10T15:39:33.779" v="575" actId="790"/>
          <ac:spMkLst>
            <pc:docMk/>
            <pc:sldMk cId="2984348907" sldId="4100"/>
            <ac:spMk id="123" creationId="{F78AB9E7-9FBD-3D4F-9F6B-430237196299}"/>
          </ac:spMkLst>
        </pc:spChg>
        <pc:spChg chg="mod">
          <ac:chgData name="Hafiz Muhammad Salman" userId="47f5b1ff-37b9-4dd0-a37a-3bc5aec52fa1" providerId="ADAL" clId="{1D0D03E3-3226-4873-A599-0FE1608CAE58}" dt="2024-09-10T15:39:33.779" v="576" actId="790"/>
          <ac:spMkLst>
            <pc:docMk/>
            <pc:sldMk cId="2984348907" sldId="4100"/>
            <ac:spMk id="124" creationId="{D6B4C8F8-34FF-BB45-A84F-10FC705BF7EC}"/>
          </ac:spMkLst>
        </pc:spChg>
        <pc:spChg chg="mod">
          <ac:chgData name="Hafiz Muhammad Salman" userId="47f5b1ff-37b9-4dd0-a37a-3bc5aec52fa1" providerId="ADAL" clId="{1D0D03E3-3226-4873-A599-0FE1608CAE58}" dt="2024-09-10T15:39:33.779" v="577" actId="790"/>
          <ac:spMkLst>
            <pc:docMk/>
            <pc:sldMk cId="2984348907" sldId="4100"/>
            <ac:spMk id="125" creationId="{535F2128-52E3-7043-86CD-F3523629279F}"/>
          </ac:spMkLst>
        </pc:spChg>
        <pc:spChg chg="mod">
          <ac:chgData name="Hafiz Muhammad Salman" userId="47f5b1ff-37b9-4dd0-a37a-3bc5aec52fa1" providerId="ADAL" clId="{1D0D03E3-3226-4873-A599-0FE1608CAE58}" dt="2024-09-10T15:39:33.779" v="578" actId="790"/>
          <ac:spMkLst>
            <pc:docMk/>
            <pc:sldMk cId="2984348907" sldId="4100"/>
            <ac:spMk id="126" creationId="{71402C4C-7E53-A840-8C21-BF78B8BF7C4B}"/>
          </ac:spMkLst>
        </pc:spChg>
        <pc:spChg chg="mod">
          <ac:chgData name="Hafiz Muhammad Salman" userId="47f5b1ff-37b9-4dd0-a37a-3bc5aec52fa1" providerId="ADAL" clId="{1D0D03E3-3226-4873-A599-0FE1608CAE58}" dt="2024-09-10T15:39:33.779" v="579" actId="790"/>
          <ac:spMkLst>
            <pc:docMk/>
            <pc:sldMk cId="2984348907" sldId="4100"/>
            <ac:spMk id="127" creationId="{451E88F3-2CAC-3347-A71D-660C63FE9B62}"/>
          </ac:spMkLst>
        </pc:spChg>
        <pc:spChg chg="mod">
          <ac:chgData name="Hafiz Muhammad Salman" userId="47f5b1ff-37b9-4dd0-a37a-3bc5aec52fa1" providerId="ADAL" clId="{1D0D03E3-3226-4873-A599-0FE1608CAE58}" dt="2024-09-10T15:39:33.779" v="580" actId="790"/>
          <ac:spMkLst>
            <pc:docMk/>
            <pc:sldMk cId="2984348907" sldId="4100"/>
            <ac:spMk id="128" creationId="{4600B15C-B1CE-8C43-A001-F032A47E79C9}"/>
          </ac:spMkLst>
        </pc:spChg>
        <pc:spChg chg="mod">
          <ac:chgData name="Hafiz Muhammad Salman" userId="47f5b1ff-37b9-4dd0-a37a-3bc5aec52fa1" providerId="ADAL" clId="{1D0D03E3-3226-4873-A599-0FE1608CAE58}" dt="2024-09-10T15:39:33.779" v="581" actId="790"/>
          <ac:spMkLst>
            <pc:docMk/>
            <pc:sldMk cId="2984348907" sldId="4100"/>
            <ac:spMk id="129" creationId="{6648563B-76C8-C44E-AAF1-EE68B74541F2}"/>
          </ac:spMkLst>
        </pc:spChg>
        <pc:spChg chg="mod">
          <ac:chgData name="Hafiz Muhammad Salman" userId="47f5b1ff-37b9-4dd0-a37a-3bc5aec52fa1" providerId="ADAL" clId="{1D0D03E3-3226-4873-A599-0FE1608CAE58}" dt="2024-09-10T15:39:33.779" v="582" actId="790"/>
          <ac:spMkLst>
            <pc:docMk/>
            <pc:sldMk cId="2984348907" sldId="4100"/>
            <ac:spMk id="130" creationId="{1FAF234E-B86A-2C42-90C2-949CAFF6C11B}"/>
          </ac:spMkLst>
        </pc:spChg>
        <pc:spChg chg="mod">
          <ac:chgData name="Hafiz Muhammad Salman" userId="47f5b1ff-37b9-4dd0-a37a-3bc5aec52fa1" providerId="ADAL" clId="{1D0D03E3-3226-4873-A599-0FE1608CAE58}" dt="2024-09-10T15:39:33.779" v="583" actId="790"/>
          <ac:spMkLst>
            <pc:docMk/>
            <pc:sldMk cId="2984348907" sldId="4100"/>
            <ac:spMk id="131" creationId="{3DDFE104-BAB9-4144-9FAF-758887D423E1}"/>
          </ac:spMkLst>
        </pc:spChg>
        <pc:spChg chg="mod">
          <ac:chgData name="Hafiz Muhammad Salman" userId="47f5b1ff-37b9-4dd0-a37a-3bc5aec52fa1" providerId="ADAL" clId="{1D0D03E3-3226-4873-A599-0FE1608CAE58}" dt="2024-09-10T15:39:33.779" v="584" actId="790"/>
          <ac:spMkLst>
            <pc:docMk/>
            <pc:sldMk cId="2984348907" sldId="4100"/>
            <ac:spMk id="132" creationId="{48EC4AD8-1743-6549-8790-CF4EBEE8AC66}"/>
          </ac:spMkLst>
        </pc:spChg>
        <pc:spChg chg="mod">
          <ac:chgData name="Hafiz Muhammad Salman" userId="47f5b1ff-37b9-4dd0-a37a-3bc5aec52fa1" providerId="ADAL" clId="{1D0D03E3-3226-4873-A599-0FE1608CAE58}" dt="2024-09-10T15:39:33.779" v="585" actId="790"/>
          <ac:spMkLst>
            <pc:docMk/>
            <pc:sldMk cId="2984348907" sldId="4100"/>
            <ac:spMk id="133" creationId="{3BFF5DC1-F4BF-4440-8FFA-5BC15586B5AB}"/>
          </ac:spMkLst>
        </pc:spChg>
        <pc:spChg chg="mod">
          <ac:chgData name="Hafiz Muhammad Salman" userId="47f5b1ff-37b9-4dd0-a37a-3bc5aec52fa1" providerId="ADAL" clId="{1D0D03E3-3226-4873-A599-0FE1608CAE58}" dt="2024-09-10T15:39:33.779" v="586" actId="790"/>
          <ac:spMkLst>
            <pc:docMk/>
            <pc:sldMk cId="2984348907" sldId="4100"/>
            <ac:spMk id="134" creationId="{53D2F0B9-19F7-4645-8207-B4C0D67B09CE}"/>
          </ac:spMkLst>
        </pc:spChg>
        <pc:spChg chg="mod">
          <ac:chgData name="Hafiz Muhammad Salman" userId="47f5b1ff-37b9-4dd0-a37a-3bc5aec52fa1" providerId="ADAL" clId="{1D0D03E3-3226-4873-A599-0FE1608CAE58}" dt="2024-09-10T15:39:33.779" v="587" actId="790"/>
          <ac:spMkLst>
            <pc:docMk/>
            <pc:sldMk cId="2984348907" sldId="4100"/>
            <ac:spMk id="135" creationId="{9DCA91D0-7436-AB44-AED2-7206D8E249E7}"/>
          </ac:spMkLst>
        </pc:spChg>
        <pc:spChg chg="del mod">
          <ac:chgData name="Hafiz Muhammad Salman" userId="47f5b1ff-37b9-4dd0-a37a-3bc5aec52fa1" providerId="ADAL" clId="{1D0D03E3-3226-4873-A599-0FE1608CAE58}" dt="2024-09-11T14:56:55.744" v="2704" actId="478"/>
          <ac:spMkLst>
            <pc:docMk/>
            <pc:sldMk cId="2984348907" sldId="4100"/>
            <ac:spMk id="146" creationId="{9CE9AA58-3F3F-DE40-883D-4C662071E3DE}"/>
          </ac:spMkLst>
        </pc:spChg>
        <pc:spChg chg="mod">
          <ac:chgData name="Hafiz Muhammad Salman" userId="47f5b1ff-37b9-4dd0-a37a-3bc5aec52fa1" providerId="ADAL" clId="{1D0D03E3-3226-4873-A599-0FE1608CAE58}" dt="2024-09-11T13:11:45.693" v="2463" actId="1035"/>
          <ac:spMkLst>
            <pc:docMk/>
            <pc:sldMk cId="2984348907" sldId="4100"/>
            <ac:spMk id="147" creationId="{46951D8D-EF9F-1244-8EC2-F505F3B1571B}"/>
          </ac:spMkLst>
        </pc:spChg>
        <pc:spChg chg="mod">
          <ac:chgData name="Hafiz Muhammad Salman" userId="47f5b1ff-37b9-4dd0-a37a-3bc5aec52fa1" providerId="ADAL" clId="{1D0D03E3-3226-4873-A599-0FE1608CAE58}" dt="2024-09-16T07:46:14.554" v="4279" actId="1035"/>
          <ac:spMkLst>
            <pc:docMk/>
            <pc:sldMk cId="2984348907" sldId="4100"/>
            <ac:spMk id="148" creationId="{AD94B11F-487F-384A-B883-685DC5BD0ED1}"/>
          </ac:spMkLst>
        </pc:spChg>
        <pc:spChg chg="del mod">
          <ac:chgData name="Hafiz Muhammad Salman" userId="47f5b1ff-37b9-4dd0-a37a-3bc5aec52fa1" providerId="ADAL" clId="{1D0D03E3-3226-4873-A599-0FE1608CAE58}" dt="2024-09-11T14:57:01.958" v="2706" actId="478"/>
          <ac:spMkLst>
            <pc:docMk/>
            <pc:sldMk cId="2984348907" sldId="4100"/>
            <ac:spMk id="149" creationId="{A9FF3D0C-E921-EA4F-9182-A5AD9113BB17}"/>
          </ac:spMkLst>
        </pc:spChg>
        <pc:spChg chg="mod">
          <ac:chgData name="Hafiz Muhammad Salman" userId="47f5b1ff-37b9-4dd0-a37a-3bc5aec52fa1" providerId="ADAL" clId="{1D0D03E3-3226-4873-A599-0FE1608CAE58}" dt="2024-09-16T07:45:44.074" v="4266" actId="1036"/>
          <ac:spMkLst>
            <pc:docMk/>
            <pc:sldMk cId="2984348907" sldId="4100"/>
            <ac:spMk id="150" creationId="{0AF2960A-CDAD-9846-98CA-34B5E7E69362}"/>
          </ac:spMkLst>
        </pc:spChg>
        <pc:spChg chg="mod">
          <ac:chgData name="Hafiz Muhammad Salman" userId="47f5b1ff-37b9-4dd0-a37a-3bc5aec52fa1" providerId="ADAL" clId="{1D0D03E3-3226-4873-A599-0FE1608CAE58}" dt="2024-09-11T13:11:45.693" v="2463" actId="1035"/>
          <ac:spMkLst>
            <pc:docMk/>
            <pc:sldMk cId="2984348907" sldId="4100"/>
            <ac:spMk id="151" creationId="{F9520175-8F5A-2942-855D-9D5ED8287349}"/>
          </ac:spMkLst>
        </pc:spChg>
        <pc:spChg chg="mod">
          <ac:chgData name="Hafiz Muhammad Salman" userId="47f5b1ff-37b9-4dd0-a37a-3bc5aec52fa1" providerId="ADAL" clId="{1D0D03E3-3226-4873-A599-0FE1608CAE58}" dt="2024-09-17T11:45:42.557" v="4759" actId="20577"/>
          <ac:spMkLst>
            <pc:docMk/>
            <pc:sldMk cId="2984348907" sldId="4100"/>
            <ac:spMk id="152" creationId="{36A097BF-9735-CD4D-B7E6-F268697D9EF5}"/>
          </ac:spMkLst>
        </pc:spChg>
        <pc:spChg chg="mod">
          <ac:chgData name="Hafiz Muhammad Salman" userId="47f5b1ff-37b9-4dd0-a37a-3bc5aec52fa1" providerId="ADAL" clId="{1D0D03E3-3226-4873-A599-0FE1608CAE58}" dt="2024-09-16T07:46:14.554" v="4279" actId="1035"/>
          <ac:spMkLst>
            <pc:docMk/>
            <pc:sldMk cId="2984348907" sldId="4100"/>
            <ac:spMk id="153" creationId="{5AC568E8-7E25-B74F-AC5D-F6B9092DD1A2}"/>
          </ac:spMkLst>
        </pc:spChg>
        <pc:spChg chg="add del mod">
          <ac:chgData name="Hafiz Muhammad Salman" userId="47f5b1ff-37b9-4dd0-a37a-3bc5aec52fa1" providerId="ADAL" clId="{1D0D03E3-3226-4873-A599-0FE1608CAE58}" dt="2024-09-16T13:03:14.022" v="4684" actId="14100"/>
          <ac:spMkLst>
            <pc:docMk/>
            <pc:sldMk cId="2984348907" sldId="4100"/>
            <ac:spMk id="154" creationId="{8CDD36B1-BF7A-AD4A-94F2-677FF37ABA85}"/>
          </ac:spMkLst>
        </pc:spChg>
        <pc:spChg chg="del mod">
          <ac:chgData name="Hafiz Muhammad Salman" userId="47f5b1ff-37b9-4dd0-a37a-3bc5aec52fa1" providerId="ADAL" clId="{1D0D03E3-3226-4873-A599-0FE1608CAE58}" dt="2024-09-11T12:57:11.346" v="2270" actId="478"/>
          <ac:spMkLst>
            <pc:docMk/>
            <pc:sldMk cId="2984348907" sldId="4100"/>
            <ac:spMk id="155" creationId="{649A7789-4626-274C-92B6-B320E88B7D70}"/>
          </ac:spMkLst>
        </pc:spChg>
        <pc:spChg chg="del mod">
          <ac:chgData name="Hafiz Muhammad Salman" userId="47f5b1ff-37b9-4dd0-a37a-3bc5aec52fa1" providerId="ADAL" clId="{1D0D03E3-3226-4873-A599-0FE1608CAE58}" dt="2024-09-11T12:57:10.248" v="2269" actId="478"/>
          <ac:spMkLst>
            <pc:docMk/>
            <pc:sldMk cId="2984348907" sldId="4100"/>
            <ac:spMk id="156" creationId="{A5068EFA-A8F7-3248-AFCB-4B540D00F332}"/>
          </ac:spMkLst>
        </pc:spChg>
        <pc:spChg chg="del mod">
          <ac:chgData name="Hafiz Muhammad Salman" userId="47f5b1ff-37b9-4dd0-a37a-3bc5aec52fa1" providerId="ADAL" clId="{1D0D03E3-3226-4873-A599-0FE1608CAE58}" dt="2024-09-11T12:57:08.765" v="2268" actId="478"/>
          <ac:spMkLst>
            <pc:docMk/>
            <pc:sldMk cId="2984348907" sldId="4100"/>
            <ac:spMk id="157" creationId="{BA5DEAF7-E8BB-F548-856F-E8A9FD49D40A}"/>
          </ac:spMkLst>
        </pc:spChg>
        <pc:spChg chg="del mod">
          <ac:chgData name="Hafiz Muhammad Salman" userId="47f5b1ff-37b9-4dd0-a37a-3bc5aec52fa1" providerId="ADAL" clId="{1D0D03E3-3226-4873-A599-0FE1608CAE58}" dt="2024-09-11T12:56:57.366" v="2265" actId="478"/>
          <ac:spMkLst>
            <pc:docMk/>
            <pc:sldMk cId="2984348907" sldId="4100"/>
            <ac:spMk id="158" creationId="{6D30EE9D-9D65-D642-87B1-54EA9CE063C9}"/>
          </ac:spMkLst>
        </pc:spChg>
        <pc:spChg chg="del mod">
          <ac:chgData name="Hafiz Muhammad Salman" userId="47f5b1ff-37b9-4dd0-a37a-3bc5aec52fa1" providerId="ADAL" clId="{1D0D03E3-3226-4873-A599-0FE1608CAE58}" dt="2024-09-11T12:56:57.366" v="2265" actId="478"/>
          <ac:spMkLst>
            <pc:docMk/>
            <pc:sldMk cId="2984348907" sldId="4100"/>
            <ac:spMk id="159" creationId="{13048056-5C19-7542-9F0F-23B1A493EC52}"/>
          </ac:spMkLst>
        </pc:spChg>
        <pc:spChg chg="del mod">
          <ac:chgData name="Hafiz Muhammad Salman" userId="47f5b1ff-37b9-4dd0-a37a-3bc5aec52fa1" providerId="ADAL" clId="{1D0D03E3-3226-4873-A599-0FE1608CAE58}" dt="2024-09-11T12:57:01.668" v="2266" actId="478"/>
          <ac:spMkLst>
            <pc:docMk/>
            <pc:sldMk cId="2984348907" sldId="4100"/>
            <ac:spMk id="160" creationId="{B97EF02A-044E-FB44-977B-78B10B1F814D}"/>
          </ac:spMkLst>
        </pc:spChg>
        <pc:spChg chg="del mod">
          <ac:chgData name="Hafiz Muhammad Salman" userId="47f5b1ff-37b9-4dd0-a37a-3bc5aec52fa1" providerId="ADAL" clId="{1D0D03E3-3226-4873-A599-0FE1608CAE58}" dt="2024-09-11T12:57:01.668" v="2266" actId="478"/>
          <ac:spMkLst>
            <pc:docMk/>
            <pc:sldMk cId="2984348907" sldId="4100"/>
            <ac:spMk id="161" creationId="{C69B8219-9CCC-CD43-B3B9-89BD1F041602}"/>
          </ac:spMkLst>
        </pc:spChg>
        <pc:spChg chg="del mod">
          <ac:chgData name="Hafiz Muhammad Salman" userId="47f5b1ff-37b9-4dd0-a37a-3bc5aec52fa1" providerId="ADAL" clId="{1D0D03E3-3226-4873-A599-0FE1608CAE58}" dt="2024-09-11T12:57:06.598" v="2267" actId="478"/>
          <ac:spMkLst>
            <pc:docMk/>
            <pc:sldMk cId="2984348907" sldId="4100"/>
            <ac:spMk id="162" creationId="{EABC6731-CD46-FA4F-B02F-1BA1DC1B3D9F}"/>
          </ac:spMkLst>
        </pc:spChg>
        <pc:spChg chg="del mod">
          <ac:chgData name="Hafiz Muhammad Salman" userId="47f5b1ff-37b9-4dd0-a37a-3bc5aec52fa1" providerId="ADAL" clId="{1D0D03E3-3226-4873-A599-0FE1608CAE58}" dt="2024-09-11T12:57:06.598" v="2267" actId="478"/>
          <ac:spMkLst>
            <pc:docMk/>
            <pc:sldMk cId="2984348907" sldId="4100"/>
            <ac:spMk id="163" creationId="{23AB1E24-2C25-B745-895B-05982B1BE8F9}"/>
          </ac:spMkLst>
        </pc:spChg>
        <pc:grpChg chg="del">
          <ac:chgData name="Hafiz Muhammad Salman" userId="47f5b1ff-37b9-4dd0-a37a-3bc5aec52fa1" providerId="ADAL" clId="{1D0D03E3-3226-4873-A599-0FE1608CAE58}" dt="2024-09-11T12:57:19.551" v="2271" actId="478"/>
          <ac:grpSpMkLst>
            <pc:docMk/>
            <pc:sldMk cId="2984348907" sldId="4100"/>
            <ac:grpSpMk id="139" creationId="{4BEAD8A0-4C53-A445-9566-12D9871030FF}"/>
          </ac:grpSpMkLst>
        </pc:grpChg>
        <pc:picChg chg="add del mod">
          <ac:chgData name="Hafiz Muhammad Salman" userId="47f5b1ff-37b9-4dd0-a37a-3bc5aec52fa1" providerId="ADAL" clId="{1D0D03E3-3226-4873-A599-0FE1608CAE58}" dt="2024-09-11T13:02:20.759" v="2297" actId="478"/>
          <ac:picMkLst>
            <pc:docMk/>
            <pc:sldMk cId="2984348907" sldId="4100"/>
            <ac:picMk id="6" creationId="{76ABC99A-11C0-B81B-6A8F-E46C330C4FC0}"/>
          </ac:picMkLst>
        </pc:picChg>
        <pc:picChg chg="add del mod">
          <ac:chgData name="Hafiz Muhammad Salman" userId="47f5b1ff-37b9-4dd0-a37a-3bc5aec52fa1" providerId="ADAL" clId="{1D0D03E3-3226-4873-A599-0FE1608CAE58}" dt="2024-09-11T13:08:17.701" v="2311" actId="478"/>
          <ac:picMkLst>
            <pc:docMk/>
            <pc:sldMk cId="2984348907" sldId="4100"/>
            <ac:picMk id="8" creationId="{2B1B1219-4FB2-C9E5-7778-CECAA574940C}"/>
          </ac:picMkLst>
        </pc:picChg>
      </pc:sldChg>
      <pc:sldChg chg="modSp del mod">
        <pc:chgData name="Hafiz Muhammad Salman" userId="47f5b1ff-37b9-4dd0-a37a-3bc5aec52fa1" providerId="ADAL" clId="{1D0D03E3-3226-4873-A599-0FE1608CAE58}" dt="2024-09-11T13:21:45.286" v="2596" actId="47"/>
        <pc:sldMkLst>
          <pc:docMk/>
          <pc:sldMk cId="3463940389" sldId="4101"/>
        </pc:sldMkLst>
        <pc:spChg chg="mod">
          <ac:chgData name="Hafiz Muhammad Salman" userId="47f5b1ff-37b9-4dd0-a37a-3bc5aec52fa1" providerId="ADAL" clId="{1D0D03E3-3226-4873-A599-0FE1608CAE58}" dt="2024-09-11T09:30:26.220" v="1029" actId="790"/>
          <ac:spMkLst>
            <pc:docMk/>
            <pc:sldMk cId="3463940389" sldId="4101"/>
            <ac:spMk id="4" creationId="{FF0EE9DE-0CEA-5B41-9662-29033ED5FBDF}"/>
          </ac:spMkLst>
        </pc:spChg>
        <pc:spChg chg="mod">
          <ac:chgData name="Hafiz Muhammad Salman" userId="47f5b1ff-37b9-4dd0-a37a-3bc5aec52fa1" providerId="ADAL" clId="{1D0D03E3-3226-4873-A599-0FE1608CAE58}" dt="2024-09-11T09:30:26.220" v="1030" actId="790"/>
          <ac:spMkLst>
            <pc:docMk/>
            <pc:sldMk cId="3463940389" sldId="4101"/>
            <ac:spMk id="5" creationId="{2A583950-B874-D540-860A-710B2AE19CE0}"/>
          </ac:spMkLst>
        </pc:spChg>
        <pc:spChg chg="mod">
          <ac:chgData name="Hafiz Muhammad Salman" userId="47f5b1ff-37b9-4dd0-a37a-3bc5aec52fa1" providerId="ADAL" clId="{1D0D03E3-3226-4873-A599-0FE1608CAE58}" dt="2024-09-11T09:30:26.220" v="1031" actId="790"/>
          <ac:spMkLst>
            <pc:docMk/>
            <pc:sldMk cId="3463940389" sldId="4101"/>
            <ac:spMk id="6" creationId="{25FBCD26-83B9-0E45-B6E6-052934A50E04}"/>
          </ac:spMkLst>
        </pc:spChg>
        <pc:spChg chg="mod">
          <ac:chgData name="Hafiz Muhammad Salman" userId="47f5b1ff-37b9-4dd0-a37a-3bc5aec52fa1" providerId="ADAL" clId="{1D0D03E3-3226-4873-A599-0FE1608CAE58}" dt="2024-09-11T09:32:08.923" v="1138" actId="20577"/>
          <ac:spMkLst>
            <pc:docMk/>
            <pc:sldMk cId="3463940389" sldId="4101"/>
            <ac:spMk id="7" creationId="{984CC95D-C1C4-4972-9A06-DD6AA9B30D83}"/>
          </ac:spMkLst>
        </pc:spChg>
        <pc:spChg chg="mod">
          <ac:chgData name="Hafiz Muhammad Salman" userId="47f5b1ff-37b9-4dd0-a37a-3bc5aec52fa1" providerId="ADAL" clId="{1D0D03E3-3226-4873-A599-0FE1608CAE58}" dt="2024-09-11T09:30:26.220" v="1032" actId="790"/>
          <ac:spMkLst>
            <pc:docMk/>
            <pc:sldMk cId="3463940389" sldId="4101"/>
            <ac:spMk id="11" creationId="{A967C3A0-F00F-3949-8709-B9619765EE45}"/>
          </ac:spMkLst>
        </pc:spChg>
        <pc:spChg chg="mod">
          <ac:chgData name="Hafiz Muhammad Salman" userId="47f5b1ff-37b9-4dd0-a37a-3bc5aec52fa1" providerId="ADAL" clId="{1D0D03E3-3226-4873-A599-0FE1608CAE58}" dt="2024-09-11T09:30:26.220" v="1033" actId="790"/>
          <ac:spMkLst>
            <pc:docMk/>
            <pc:sldMk cId="3463940389" sldId="4101"/>
            <ac:spMk id="12" creationId="{A868A8DA-7C6B-C74B-B537-B1EFC6B156DE}"/>
          </ac:spMkLst>
        </pc:spChg>
        <pc:spChg chg="mod">
          <ac:chgData name="Hafiz Muhammad Salman" userId="47f5b1ff-37b9-4dd0-a37a-3bc5aec52fa1" providerId="ADAL" clId="{1D0D03E3-3226-4873-A599-0FE1608CAE58}" dt="2024-09-11T09:30:26.220" v="1034" actId="790"/>
          <ac:spMkLst>
            <pc:docMk/>
            <pc:sldMk cId="3463940389" sldId="4101"/>
            <ac:spMk id="13" creationId="{A8C49070-0BC5-4B47-91E7-3CBA76AB8D7F}"/>
          </ac:spMkLst>
        </pc:spChg>
        <pc:spChg chg="mod">
          <ac:chgData name="Hafiz Muhammad Salman" userId="47f5b1ff-37b9-4dd0-a37a-3bc5aec52fa1" providerId="ADAL" clId="{1D0D03E3-3226-4873-A599-0FE1608CAE58}" dt="2024-09-11T09:30:26.220" v="1035" actId="790"/>
          <ac:spMkLst>
            <pc:docMk/>
            <pc:sldMk cId="3463940389" sldId="4101"/>
            <ac:spMk id="14" creationId="{E9073916-1C49-3A4A-BBBE-0534867D97F0}"/>
          </ac:spMkLst>
        </pc:spChg>
        <pc:spChg chg="mod">
          <ac:chgData name="Hafiz Muhammad Salman" userId="47f5b1ff-37b9-4dd0-a37a-3bc5aec52fa1" providerId="ADAL" clId="{1D0D03E3-3226-4873-A599-0FE1608CAE58}" dt="2024-09-11T09:30:26.220" v="1036" actId="790"/>
          <ac:spMkLst>
            <pc:docMk/>
            <pc:sldMk cId="3463940389" sldId="4101"/>
            <ac:spMk id="15" creationId="{851B56D5-E063-0643-B154-951B342068A7}"/>
          </ac:spMkLst>
        </pc:spChg>
        <pc:spChg chg="mod">
          <ac:chgData name="Hafiz Muhammad Salman" userId="47f5b1ff-37b9-4dd0-a37a-3bc5aec52fa1" providerId="ADAL" clId="{1D0D03E3-3226-4873-A599-0FE1608CAE58}" dt="2024-09-11T09:30:26.220" v="1037" actId="790"/>
          <ac:spMkLst>
            <pc:docMk/>
            <pc:sldMk cId="3463940389" sldId="4101"/>
            <ac:spMk id="16" creationId="{88E461D6-3462-C740-A57C-49CA22A66556}"/>
          </ac:spMkLst>
        </pc:spChg>
        <pc:spChg chg="mod">
          <ac:chgData name="Hafiz Muhammad Salman" userId="47f5b1ff-37b9-4dd0-a37a-3bc5aec52fa1" providerId="ADAL" clId="{1D0D03E3-3226-4873-A599-0FE1608CAE58}" dt="2024-09-11T09:30:26.220" v="1038" actId="790"/>
          <ac:spMkLst>
            <pc:docMk/>
            <pc:sldMk cId="3463940389" sldId="4101"/>
            <ac:spMk id="17" creationId="{5D092F4C-F4DE-8644-A7BB-78BEA302599C}"/>
          </ac:spMkLst>
        </pc:spChg>
        <pc:spChg chg="mod">
          <ac:chgData name="Hafiz Muhammad Salman" userId="47f5b1ff-37b9-4dd0-a37a-3bc5aec52fa1" providerId="ADAL" clId="{1D0D03E3-3226-4873-A599-0FE1608CAE58}" dt="2024-09-11T09:30:26.220" v="1039" actId="790"/>
          <ac:spMkLst>
            <pc:docMk/>
            <pc:sldMk cId="3463940389" sldId="4101"/>
            <ac:spMk id="18" creationId="{3B495889-09E8-4945-9DBF-84B49F974935}"/>
          </ac:spMkLst>
        </pc:spChg>
        <pc:spChg chg="mod">
          <ac:chgData name="Hafiz Muhammad Salman" userId="47f5b1ff-37b9-4dd0-a37a-3bc5aec52fa1" providerId="ADAL" clId="{1D0D03E3-3226-4873-A599-0FE1608CAE58}" dt="2024-09-11T09:30:26.220" v="1040" actId="790"/>
          <ac:spMkLst>
            <pc:docMk/>
            <pc:sldMk cId="3463940389" sldId="4101"/>
            <ac:spMk id="19" creationId="{1530B78F-094F-7E45-BF4C-46C6A2FFD6AC}"/>
          </ac:spMkLst>
        </pc:spChg>
        <pc:spChg chg="mod">
          <ac:chgData name="Hafiz Muhammad Salman" userId="47f5b1ff-37b9-4dd0-a37a-3bc5aec52fa1" providerId="ADAL" clId="{1D0D03E3-3226-4873-A599-0FE1608CAE58}" dt="2024-09-11T09:30:26.220" v="1041" actId="790"/>
          <ac:spMkLst>
            <pc:docMk/>
            <pc:sldMk cId="3463940389" sldId="4101"/>
            <ac:spMk id="24" creationId="{BAF1F472-A764-8748-9313-0B8CD5AD2DA2}"/>
          </ac:spMkLst>
        </pc:spChg>
        <pc:spChg chg="mod">
          <ac:chgData name="Hafiz Muhammad Salman" userId="47f5b1ff-37b9-4dd0-a37a-3bc5aec52fa1" providerId="ADAL" clId="{1D0D03E3-3226-4873-A599-0FE1608CAE58}" dt="2024-09-11T09:30:26.235" v="1042" actId="790"/>
          <ac:spMkLst>
            <pc:docMk/>
            <pc:sldMk cId="3463940389" sldId="4101"/>
            <ac:spMk id="25" creationId="{231EFA60-98A2-1542-908E-78DB204AF207}"/>
          </ac:spMkLst>
        </pc:spChg>
        <pc:spChg chg="mod">
          <ac:chgData name="Hafiz Muhammad Salman" userId="47f5b1ff-37b9-4dd0-a37a-3bc5aec52fa1" providerId="ADAL" clId="{1D0D03E3-3226-4873-A599-0FE1608CAE58}" dt="2024-09-11T09:30:26.235" v="1043" actId="790"/>
          <ac:spMkLst>
            <pc:docMk/>
            <pc:sldMk cId="3463940389" sldId="4101"/>
            <ac:spMk id="26" creationId="{97BA385A-F7C3-374C-B47E-5AC518ADC9CF}"/>
          </ac:spMkLst>
        </pc:spChg>
        <pc:spChg chg="mod">
          <ac:chgData name="Hafiz Muhammad Salman" userId="47f5b1ff-37b9-4dd0-a37a-3bc5aec52fa1" providerId="ADAL" clId="{1D0D03E3-3226-4873-A599-0FE1608CAE58}" dt="2024-09-11T09:30:26.235" v="1044" actId="790"/>
          <ac:spMkLst>
            <pc:docMk/>
            <pc:sldMk cId="3463940389" sldId="4101"/>
            <ac:spMk id="27" creationId="{A0E41E81-0702-0A4A-9DA4-FEB1CFA2E09B}"/>
          </ac:spMkLst>
        </pc:spChg>
        <pc:spChg chg="mod">
          <ac:chgData name="Hafiz Muhammad Salman" userId="47f5b1ff-37b9-4dd0-a37a-3bc5aec52fa1" providerId="ADAL" clId="{1D0D03E3-3226-4873-A599-0FE1608CAE58}" dt="2024-09-11T09:33:54.830" v="1142"/>
          <ac:spMkLst>
            <pc:docMk/>
            <pc:sldMk cId="3463940389" sldId="4101"/>
            <ac:spMk id="29" creationId="{42DC4A65-206D-3D49-BDEE-3485746460E6}"/>
          </ac:spMkLst>
        </pc:spChg>
        <pc:spChg chg="mod">
          <ac:chgData name="Hafiz Muhammad Salman" userId="47f5b1ff-37b9-4dd0-a37a-3bc5aec52fa1" providerId="ADAL" clId="{1D0D03E3-3226-4873-A599-0FE1608CAE58}" dt="2024-09-11T09:33:15.043" v="1141"/>
          <ac:spMkLst>
            <pc:docMk/>
            <pc:sldMk cId="3463940389" sldId="4101"/>
            <ac:spMk id="30" creationId="{C5D7CFAD-1371-DB47-AE0F-FC85117FB81C}"/>
          </ac:spMkLst>
        </pc:spChg>
        <pc:spChg chg="mod">
          <ac:chgData name="Hafiz Muhammad Salman" userId="47f5b1ff-37b9-4dd0-a37a-3bc5aec52fa1" providerId="ADAL" clId="{1D0D03E3-3226-4873-A599-0FE1608CAE58}" dt="2024-09-11T09:30:26.235" v="1047" actId="790"/>
          <ac:spMkLst>
            <pc:docMk/>
            <pc:sldMk cId="3463940389" sldId="4101"/>
            <ac:spMk id="33" creationId="{75D78690-1AEF-7A4C-8AEB-CE2146090DA3}"/>
          </ac:spMkLst>
        </pc:spChg>
        <pc:spChg chg="mod">
          <ac:chgData name="Hafiz Muhammad Salman" userId="47f5b1ff-37b9-4dd0-a37a-3bc5aec52fa1" providerId="ADAL" clId="{1D0D03E3-3226-4873-A599-0FE1608CAE58}" dt="2024-09-11T09:34:15.580" v="1143"/>
          <ac:spMkLst>
            <pc:docMk/>
            <pc:sldMk cId="3463940389" sldId="4101"/>
            <ac:spMk id="34" creationId="{135FF297-A2F2-4644-AC5A-4CB1DC9074DF}"/>
          </ac:spMkLst>
        </pc:spChg>
        <pc:spChg chg="mod">
          <ac:chgData name="Hafiz Muhammad Salman" userId="47f5b1ff-37b9-4dd0-a37a-3bc5aec52fa1" providerId="ADAL" clId="{1D0D03E3-3226-4873-A599-0FE1608CAE58}" dt="2024-09-11T09:30:26.235" v="1049" actId="790"/>
          <ac:spMkLst>
            <pc:docMk/>
            <pc:sldMk cId="3463940389" sldId="4101"/>
            <ac:spMk id="36" creationId="{469284EE-C234-2947-8EB9-CB5746302A1E}"/>
          </ac:spMkLst>
        </pc:spChg>
        <pc:spChg chg="mod">
          <ac:chgData name="Hafiz Muhammad Salman" userId="47f5b1ff-37b9-4dd0-a37a-3bc5aec52fa1" providerId="ADAL" clId="{1D0D03E3-3226-4873-A599-0FE1608CAE58}" dt="2024-09-11T09:30:26.235" v="1050" actId="790"/>
          <ac:spMkLst>
            <pc:docMk/>
            <pc:sldMk cId="3463940389" sldId="4101"/>
            <ac:spMk id="37" creationId="{F665AFCA-53BD-5A43-AA43-A452DF6B5BE6}"/>
          </ac:spMkLst>
        </pc:spChg>
        <pc:spChg chg="mod">
          <ac:chgData name="Hafiz Muhammad Salman" userId="47f5b1ff-37b9-4dd0-a37a-3bc5aec52fa1" providerId="ADAL" clId="{1D0D03E3-3226-4873-A599-0FE1608CAE58}" dt="2024-09-11T09:30:26.235" v="1051" actId="790"/>
          <ac:spMkLst>
            <pc:docMk/>
            <pc:sldMk cId="3463940389" sldId="4101"/>
            <ac:spMk id="39" creationId="{BEC176D8-8C86-084C-9E55-A9527295AD71}"/>
          </ac:spMkLst>
        </pc:spChg>
        <pc:spChg chg="mod">
          <ac:chgData name="Hafiz Muhammad Salman" userId="47f5b1ff-37b9-4dd0-a37a-3bc5aec52fa1" providerId="ADAL" clId="{1D0D03E3-3226-4873-A599-0FE1608CAE58}" dt="2024-09-11T09:30:26.235" v="1052" actId="790"/>
          <ac:spMkLst>
            <pc:docMk/>
            <pc:sldMk cId="3463940389" sldId="4101"/>
            <ac:spMk id="40" creationId="{27FF72FE-DFD3-5645-B047-955AFE723F3C}"/>
          </ac:spMkLst>
        </pc:spChg>
      </pc:sldChg>
      <pc:sldChg chg="addSp delSp modSp add del mod">
        <pc:chgData name="Hafiz Muhammad Salman" userId="47f5b1ff-37b9-4dd0-a37a-3bc5aec52fa1" providerId="ADAL" clId="{1D0D03E3-3226-4873-A599-0FE1608CAE58}" dt="2024-09-12T14:48:17.247" v="4204" actId="47"/>
        <pc:sldMkLst>
          <pc:docMk/>
          <pc:sldMk cId="1105474368" sldId="4102"/>
        </pc:sldMkLst>
        <pc:spChg chg="del">
          <ac:chgData name="Hafiz Muhammad Salman" userId="47f5b1ff-37b9-4dd0-a37a-3bc5aec52fa1" providerId="ADAL" clId="{1D0D03E3-3226-4873-A599-0FE1608CAE58}" dt="2024-09-11T11:33:27.943" v="1643" actId="478"/>
          <ac:spMkLst>
            <pc:docMk/>
            <pc:sldMk cId="1105474368" sldId="4102"/>
            <ac:spMk id="4" creationId="{30A562BB-3F24-AD4E-A1B6-B0B546F222FB}"/>
          </ac:spMkLst>
        </pc:spChg>
        <pc:spChg chg="mod">
          <ac:chgData name="Hafiz Muhammad Salman" userId="47f5b1ff-37b9-4dd0-a37a-3bc5aec52fa1" providerId="ADAL" clId="{1D0D03E3-3226-4873-A599-0FE1608CAE58}" dt="2024-09-11T09:48:27.879" v="1245" actId="20577"/>
          <ac:spMkLst>
            <pc:docMk/>
            <pc:sldMk cId="1105474368" sldId="4102"/>
            <ac:spMk id="8" creationId="{AB66817C-548C-4392-94D6-ED2B18A95EA8}"/>
          </ac:spMkLst>
        </pc:spChg>
        <pc:spChg chg="del">
          <ac:chgData name="Hafiz Muhammad Salman" userId="47f5b1ff-37b9-4dd0-a37a-3bc5aec52fa1" providerId="ADAL" clId="{1D0D03E3-3226-4873-A599-0FE1608CAE58}" dt="2024-09-11T11:33:27.314" v="1642" actId="478"/>
          <ac:spMkLst>
            <pc:docMk/>
            <pc:sldMk cId="1105474368" sldId="4102"/>
            <ac:spMk id="12" creationId="{74092E67-EDFE-A949-9D8E-3E120C9C449A}"/>
          </ac:spMkLst>
        </pc:spChg>
        <pc:spChg chg="mod">
          <ac:chgData name="Hafiz Muhammad Salman" userId="47f5b1ff-37b9-4dd0-a37a-3bc5aec52fa1" providerId="ADAL" clId="{1D0D03E3-3226-4873-A599-0FE1608CAE58}" dt="2024-09-11T15:12:45.975" v="2836" actId="1038"/>
          <ac:spMkLst>
            <pc:docMk/>
            <pc:sldMk cId="1105474368" sldId="4102"/>
            <ac:spMk id="13" creationId="{E2DBF5B5-44E4-9C4A-B7A8-62C196A8945A}"/>
          </ac:spMkLst>
        </pc:spChg>
        <pc:spChg chg="mod">
          <ac:chgData name="Hafiz Muhammad Salman" userId="47f5b1ff-37b9-4dd0-a37a-3bc5aec52fa1" providerId="ADAL" clId="{1D0D03E3-3226-4873-A599-0FE1608CAE58}" dt="2024-09-11T09:47:20.399" v="1223"/>
          <ac:spMkLst>
            <pc:docMk/>
            <pc:sldMk cId="1105474368" sldId="4102"/>
            <ac:spMk id="14" creationId="{DD98026F-A297-F548-AAB9-B3799AC1DCFD}"/>
          </ac:spMkLst>
        </pc:spChg>
        <pc:spChg chg="mod">
          <ac:chgData name="Hafiz Muhammad Salman" userId="47f5b1ff-37b9-4dd0-a37a-3bc5aec52fa1" providerId="ADAL" clId="{1D0D03E3-3226-4873-A599-0FE1608CAE58}" dt="2024-09-11T15:12:45.975" v="2836" actId="1038"/>
          <ac:spMkLst>
            <pc:docMk/>
            <pc:sldMk cId="1105474368" sldId="4102"/>
            <ac:spMk id="17" creationId="{07CB5B4A-1533-8446-BCED-DC843F0597ED}"/>
          </ac:spMkLst>
        </pc:spChg>
        <pc:spChg chg="mod">
          <ac:chgData name="Hafiz Muhammad Salman" userId="47f5b1ff-37b9-4dd0-a37a-3bc5aec52fa1" providerId="ADAL" clId="{1D0D03E3-3226-4873-A599-0FE1608CAE58}" dt="2024-09-11T10:01:34.108" v="1322"/>
          <ac:spMkLst>
            <pc:docMk/>
            <pc:sldMk cId="1105474368" sldId="4102"/>
            <ac:spMk id="18" creationId="{AE7EAAEF-AF19-AE4F-B6A7-7AD62D9091B7}"/>
          </ac:spMkLst>
        </pc:spChg>
        <pc:spChg chg="mod">
          <ac:chgData name="Hafiz Muhammad Salman" userId="47f5b1ff-37b9-4dd0-a37a-3bc5aec52fa1" providerId="ADAL" clId="{1D0D03E3-3226-4873-A599-0FE1608CAE58}" dt="2024-09-11T15:12:45.975" v="2836" actId="1038"/>
          <ac:spMkLst>
            <pc:docMk/>
            <pc:sldMk cId="1105474368" sldId="4102"/>
            <ac:spMk id="20" creationId="{D63B4EB4-8D60-FB47-B641-6CF1F3F68041}"/>
          </ac:spMkLst>
        </pc:spChg>
        <pc:spChg chg="del mod">
          <ac:chgData name="Hafiz Muhammad Salman" userId="47f5b1ff-37b9-4dd0-a37a-3bc5aec52fa1" providerId="ADAL" clId="{1D0D03E3-3226-4873-A599-0FE1608CAE58}" dt="2024-09-11T11:33:26.069" v="1641"/>
          <ac:spMkLst>
            <pc:docMk/>
            <pc:sldMk cId="1105474368" sldId="4102"/>
            <ac:spMk id="23" creationId="{1432D652-3D52-2049-89E0-7687840BA42B}"/>
          </ac:spMkLst>
        </pc:spChg>
        <pc:spChg chg="del mod">
          <ac:chgData name="Hafiz Muhammad Salman" userId="47f5b1ff-37b9-4dd0-a37a-3bc5aec52fa1" providerId="ADAL" clId="{1D0D03E3-3226-4873-A599-0FE1608CAE58}" dt="2024-09-11T11:33:26.060" v="1639" actId="478"/>
          <ac:spMkLst>
            <pc:docMk/>
            <pc:sldMk cId="1105474368" sldId="4102"/>
            <ac:spMk id="24" creationId="{FDA620A9-D2AC-A44B-A400-C351BD6EA962}"/>
          </ac:spMkLst>
        </pc:spChg>
        <pc:picChg chg="add mod">
          <ac:chgData name="Hafiz Muhammad Salman" userId="47f5b1ff-37b9-4dd0-a37a-3bc5aec52fa1" providerId="ADAL" clId="{1D0D03E3-3226-4873-A599-0FE1608CAE58}" dt="2024-09-12T14:33:04.172" v="4018" actId="1076"/>
          <ac:picMkLst>
            <pc:docMk/>
            <pc:sldMk cId="1105474368" sldId="4102"/>
            <ac:picMk id="6" creationId="{4B8E4189-BA18-BB22-4239-2148E135186F}"/>
          </ac:picMkLst>
        </pc:picChg>
      </pc:sldChg>
      <pc:sldChg chg="addSp delSp modSp add mod modNotesTx">
        <pc:chgData name="Hafiz Muhammad Salman" userId="47f5b1ff-37b9-4dd0-a37a-3bc5aec52fa1" providerId="ADAL" clId="{1D0D03E3-3226-4873-A599-0FE1608CAE58}" dt="2024-09-19T08:41:19.024" v="5701" actId="20577"/>
        <pc:sldMkLst>
          <pc:docMk/>
          <pc:sldMk cId="4023187732" sldId="4103"/>
        </pc:sldMkLst>
        <pc:spChg chg="mod">
          <ac:chgData name="Hafiz Muhammad Salman" userId="47f5b1ff-37b9-4dd0-a37a-3bc5aec52fa1" providerId="ADAL" clId="{1D0D03E3-3226-4873-A599-0FE1608CAE58}" dt="2024-09-12T14:47:47.729" v="4200" actId="1037"/>
          <ac:spMkLst>
            <pc:docMk/>
            <pc:sldMk cId="4023187732" sldId="4103"/>
            <ac:spMk id="2" creationId="{6076B468-3628-A34E-8D62-2526308D830B}"/>
          </ac:spMkLst>
        </pc:spChg>
        <pc:spChg chg="mod">
          <ac:chgData name="Hafiz Muhammad Salman" userId="47f5b1ff-37b9-4dd0-a37a-3bc5aec52fa1" providerId="ADAL" clId="{1D0D03E3-3226-4873-A599-0FE1608CAE58}" dt="2024-09-12T14:47:47.729" v="4200" actId="1037"/>
          <ac:spMkLst>
            <pc:docMk/>
            <pc:sldMk cId="4023187732" sldId="4103"/>
            <ac:spMk id="3" creationId="{79416472-0357-E949-B0E3-9E67C4E1A8B3}"/>
          </ac:spMkLst>
        </pc:spChg>
        <pc:spChg chg="del">
          <ac:chgData name="Hafiz Muhammad Salman" userId="47f5b1ff-37b9-4dd0-a37a-3bc5aec52fa1" providerId="ADAL" clId="{1D0D03E3-3226-4873-A599-0FE1608CAE58}" dt="2024-09-11T10:09:10.065" v="1425" actId="478"/>
          <ac:spMkLst>
            <pc:docMk/>
            <pc:sldMk cId="4023187732" sldId="4103"/>
            <ac:spMk id="4" creationId="{30A562BB-3F24-AD4E-A1B6-B0B546F222FB}"/>
          </ac:spMkLst>
        </pc:spChg>
        <pc:spChg chg="mod">
          <ac:chgData name="Hafiz Muhammad Salman" userId="47f5b1ff-37b9-4dd0-a37a-3bc5aec52fa1" providerId="ADAL" clId="{1D0D03E3-3226-4873-A599-0FE1608CAE58}" dt="2024-09-12T14:47:47.729" v="4200" actId="1037"/>
          <ac:spMkLst>
            <pc:docMk/>
            <pc:sldMk cId="4023187732" sldId="4103"/>
            <ac:spMk id="5" creationId="{90051B68-682F-A042-81FC-EB1F2336F9F3}"/>
          </ac:spMkLst>
        </pc:spChg>
        <pc:spChg chg="add mod">
          <ac:chgData name="Hafiz Muhammad Salman" userId="47f5b1ff-37b9-4dd0-a37a-3bc5aec52fa1" providerId="ADAL" clId="{1D0D03E3-3226-4873-A599-0FE1608CAE58}" dt="2024-09-12T14:39:54.426" v="4103" actId="1036"/>
          <ac:spMkLst>
            <pc:docMk/>
            <pc:sldMk cId="4023187732" sldId="4103"/>
            <ac:spMk id="7" creationId="{FDBBD5F2-7FD8-6C7D-1D06-C3E42FD25289}"/>
          </ac:spMkLst>
        </pc:spChg>
        <pc:spChg chg="mod">
          <ac:chgData name="Hafiz Muhammad Salman" userId="47f5b1ff-37b9-4dd0-a37a-3bc5aec52fa1" providerId="ADAL" clId="{1D0D03E3-3226-4873-A599-0FE1608CAE58}" dt="2024-09-12T14:49:37.829" v="4220" actId="20577"/>
          <ac:spMkLst>
            <pc:docMk/>
            <pc:sldMk cId="4023187732" sldId="4103"/>
            <ac:spMk id="8" creationId="{AB66817C-548C-4392-94D6-ED2B18A95EA8}"/>
          </ac:spMkLst>
        </pc:spChg>
        <pc:spChg chg="mod">
          <ac:chgData name="Hafiz Muhammad Salman" userId="47f5b1ff-37b9-4dd0-a37a-3bc5aec52fa1" providerId="ADAL" clId="{1D0D03E3-3226-4873-A599-0FE1608CAE58}" dt="2024-09-12T14:47:47.729" v="4200" actId="1037"/>
          <ac:spMkLst>
            <pc:docMk/>
            <pc:sldMk cId="4023187732" sldId="4103"/>
            <ac:spMk id="9" creationId="{62C0552F-D0EA-F340-A5E3-1E1B23BDFD13}"/>
          </ac:spMkLst>
        </pc:spChg>
        <pc:spChg chg="mod">
          <ac:chgData name="Hafiz Muhammad Salman" userId="47f5b1ff-37b9-4dd0-a37a-3bc5aec52fa1" providerId="ADAL" clId="{1D0D03E3-3226-4873-A599-0FE1608CAE58}" dt="2024-09-12T14:47:47.729" v="4200" actId="1037"/>
          <ac:spMkLst>
            <pc:docMk/>
            <pc:sldMk cId="4023187732" sldId="4103"/>
            <ac:spMk id="10" creationId="{06C4BB33-18F5-D14F-9E0A-D78AD10A810D}"/>
          </ac:spMkLst>
        </pc:spChg>
        <pc:spChg chg="mod">
          <ac:chgData name="Hafiz Muhammad Salman" userId="47f5b1ff-37b9-4dd0-a37a-3bc5aec52fa1" providerId="ADAL" clId="{1D0D03E3-3226-4873-A599-0FE1608CAE58}" dt="2024-09-12T14:47:47.729" v="4200" actId="1037"/>
          <ac:spMkLst>
            <pc:docMk/>
            <pc:sldMk cId="4023187732" sldId="4103"/>
            <ac:spMk id="11" creationId="{9CCFED12-2297-7445-8666-39EB6704EDD9}"/>
          </ac:spMkLst>
        </pc:spChg>
        <pc:spChg chg="del">
          <ac:chgData name="Hafiz Muhammad Salman" userId="47f5b1ff-37b9-4dd0-a37a-3bc5aec52fa1" providerId="ADAL" clId="{1D0D03E3-3226-4873-A599-0FE1608CAE58}" dt="2024-09-11T10:09:09.182" v="1424" actId="478"/>
          <ac:spMkLst>
            <pc:docMk/>
            <pc:sldMk cId="4023187732" sldId="4103"/>
            <ac:spMk id="12" creationId="{74092E67-EDFE-A949-9D8E-3E120C9C449A}"/>
          </ac:spMkLst>
        </pc:spChg>
        <pc:spChg chg="mod">
          <ac:chgData name="Hafiz Muhammad Salman" userId="47f5b1ff-37b9-4dd0-a37a-3bc5aec52fa1" providerId="ADAL" clId="{1D0D03E3-3226-4873-A599-0FE1608CAE58}" dt="2024-09-12T14:47:47.729" v="4200" actId="1037"/>
          <ac:spMkLst>
            <pc:docMk/>
            <pc:sldMk cId="4023187732" sldId="4103"/>
            <ac:spMk id="13" creationId="{E2DBF5B5-44E4-9C4A-B7A8-62C196A8945A}"/>
          </ac:spMkLst>
        </pc:spChg>
        <pc:spChg chg="mod">
          <ac:chgData name="Hafiz Muhammad Salman" userId="47f5b1ff-37b9-4dd0-a37a-3bc5aec52fa1" providerId="ADAL" clId="{1D0D03E3-3226-4873-A599-0FE1608CAE58}" dt="2024-09-12T14:47:47.729" v="4200" actId="1037"/>
          <ac:spMkLst>
            <pc:docMk/>
            <pc:sldMk cId="4023187732" sldId="4103"/>
            <ac:spMk id="14" creationId="{DD98026F-A297-F548-AAB9-B3799AC1DCFD}"/>
          </ac:spMkLst>
        </pc:spChg>
        <pc:spChg chg="mod">
          <ac:chgData name="Hafiz Muhammad Salman" userId="47f5b1ff-37b9-4dd0-a37a-3bc5aec52fa1" providerId="ADAL" clId="{1D0D03E3-3226-4873-A599-0FE1608CAE58}" dt="2024-09-19T08:41:19.024" v="5701" actId="20577"/>
          <ac:spMkLst>
            <pc:docMk/>
            <pc:sldMk cId="4023187732" sldId="4103"/>
            <ac:spMk id="17" creationId="{07CB5B4A-1533-8446-BCED-DC843F0597ED}"/>
          </ac:spMkLst>
        </pc:spChg>
        <pc:spChg chg="mod">
          <ac:chgData name="Hafiz Muhammad Salman" userId="47f5b1ff-37b9-4dd0-a37a-3bc5aec52fa1" providerId="ADAL" clId="{1D0D03E3-3226-4873-A599-0FE1608CAE58}" dt="2024-09-12T14:47:47.729" v="4200" actId="1037"/>
          <ac:spMkLst>
            <pc:docMk/>
            <pc:sldMk cId="4023187732" sldId="4103"/>
            <ac:spMk id="18" creationId="{AE7EAAEF-AF19-AE4F-B6A7-7AD62D9091B7}"/>
          </ac:spMkLst>
        </pc:spChg>
        <pc:spChg chg="add mod">
          <ac:chgData name="Hafiz Muhammad Salman" userId="47f5b1ff-37b9-4dd0-a37a-3bc5aec52fa1" providerId="ADAL" clId="{1D0D03E3-3226-4873-A599-0FE1608CAE58}" dt="2024-09-12T14:39:54.426" v="4103" actId="1036"/>
          <ac:spMkLst>
            <pc:docMk/>
            <pc:sldMk cId="4023187732" sldId="4103"/>
            <ac:spMk id="19" creationId="{1854B026-D44C-B45C-A11E-A59B8D0B3EA7}"/>
          </ac:spMkLst>
        </pc:spChg>
        <pc:spChg chg="mod">
          <ac:chgData name="Hafiz Muhammad Salman" userId="47f5b1ff-37b9-4dd0-a37a-3bc5aec52fa1" providerId="ADAL" clId="{1D0D03E3-3226-4873-A599-0FE1608CAE58}" dt="2024-09-19T08:40:53.192" v="5697" actId="20577"/>
          <ac:spMkLst>
            <pc:docMk/>
            <pc:sldMk cId="4023187732" sldId="4103"/>
            <ac:spMk id="20" creationId="{D63B4EB4-8D60-FB47-B641-6CF1F3F68041}"/>
          </ac:spMkLst>
        </pc:spChg>
        <pc:spChg chg="mod">
          <ac:chgData name="Hafiz Muhammad Salman" userId="47f5b1ff-37b9-4dd0-a37a-3bc5aec52fa1" providerId="ADAL" clId="{1D0D03E3-3226-4873-A599-0FE1608CAE58}" dt="2024-09-12T14:47:47.729" v="4200" actId="1037"/>
          <ac:spMkLst>
            <pc:docMk/>
            <pc:sldMk cId="4023187732" sldId="4103"/>
            <ac:spMk id="21" creationId="{94C81924-BC19-1440-911C-C673604EB7ED}"/>
          </ac:spMkLst>
        </pc:spChg>
        <pc:spChg chg="add mod">
          <ac:chgData name="Hafiz Muhammad Salman" userId="47f5b1ff-37b9-4dd0-a37a-3bc5aec52fa1" providerId="ADAL" clId="{1D0D03E3-3226-4873-A599-0FE1608CAE58}" dt="2024-09-12T14:39:54.426" v="4103" actId="1036"/>
          <ac:spMkLst>
            <pc:docMk/>
            <pc:sldMk cId="4023187732" sldId="4103"/>
            <ac:spMk id="22" creationId="{268FAA08-5ABF-2A69-1DBE-4597BA25942C}"/>
          </ac:spMkLst>
        </pc:spChg>
        <pc:spChg chg="del mod">
          <ac:chgData name="Hafiz Muhammad Salman" userId="47f5b1ff-37b9-4dd0-a37a-3bc5aec52fa1" providerId="ADAL" clId="{1D0D03E3-3226-4873-A599-0FE1608CAE58}" dt="2024-09-11T10:09:03.062" v="1422" actId="478"/>
          <ac:spMkLst>
            <pc:docMk/>
            <pc:sldMk cId="4023187732" sldId="4103"/>
            <ac:spMk id="23" creationId="{1432D652-3D52-2049-89E0-7687840BA42B}"/>
          </ac:spMkLst>
        </pc:spChg>
        <pc:spChg chg="del">
          <ac:chgData name="Hafiz Muhammad Salman" userId="47f5b1ff-37b9-4dd0-a37a-3bc5aec52fa1" providerId="ADAL" clId="{1D0D03E3-3226-4873-A599-0FE1608CAE58}" dt="2024-09-11T10:09:06.785" v="1423" actId="478"/>
          <ac:spMkLst>
            <pc:docMk/>
            <pc:sldMk cId="4023187732" sldId="4103"/>
            <ac:spMk id="24" creationId="{FDA620A9-D2AC-A44B-A400-C351BD6EA962}"/>
          </ac:spMkLst>
        </pc:spChg>
        <pc:spChg chg="add mod">
          <ac:chgData name="Hafiz Muhammad Salman" userId="47f5b1ff-37b9-4dd0-a37a-3bc5aec52fa1" providerId="ADAL" clId="{1D0D03E3-3226-4873-A599-0FE1608CAE58}" dt="2024-09-12T14:39:54.426" v="4103" actId="1036"/>
          <ac:spMkLst>
            <pc:docMk/>
            <pc:sldMk cId="4023187732" sldId="4103"/>
            <ac:spMk id="25" creationId="{F41CB4ED-B540-6932-8161-D0584F5E8C0A}"/>
          </ac:spMkLst>
        </pc:spChg>
        <pc:spChg chg="add mod">
          <ac:chgData name="Hafiz Muhammad Salman" userId="47f5b1ff-37b9-4dd0-a37a-3bc5aec52fa1" providerId="ADAL" clId="{1D0D03E3-3226-4873-A599-0FE1608CAE58}" dt="2024-09-12T14:47:47.729" v="4200" actId="1037"/>
          <ac:spMkLst>
            <pc:docMk/>
            <pc:sldMk cId="4023187732" sldId="4103"/>
            <ac:spMk id="26" creationId="{450AD6EC-F3E1-F473-C124-9388A1CB54A2}"/>
          </ac:spMkLst>
        </pc:spChg>
        <pc:spChg chg="add mod">
          <ac:chgData name="Hafiz Muhammad Salman" userId="47f5b1ff-37b9-4dd0-a37a-3bc5aec52fa1" providerId="ADAL" clId="{1D0D03E3-3226-4873-A599-0FE1608CAE58}" dt="2024-09-12T14:47:47.729" v="4200" actId="1037"/>
          <ac:spMkLst>
            <pc:docMk/>
            <pc:sldMk cId="4023187732" sldId="4103"/>
            <ac:spMk id="27" creationId="{9ED2DAA2-DFBD-8E33-E130-C113F9CDDB75}"/>
          </ac:spMkLst>
        </pc:spChg>
        <pc:spChg chg="add mod">
          <ac:chgData name="Hafiz Muhammad Salman" userId="47f5b1ff-37b9-4dd0-a37a-3bc5aec52fa1" providerId="ADAL" clId="{1D0D03E3-3226-4873-A599-0FE1608CAE58}" dt="2024-09-12T14:50:43.009" v="4223"/>
          <ac:spMkLst>
            <pc:docMk/>
            <pc:sldMk cId="4023187732" sldId="4103"/>
            <ac:spMk id="28" creationId="{CB674611-C9FD-D3E6-DC50-A329BDE74671}"/>
          </ac:spMkLst>
        </pc:spChg>
        <pc:spChg chg="add mod">
          <ac:chgData name="Hafiz Muhammad Salman" userId="47f5b1ff-37b9-4dd0-a37a-3bc5aec52fa1" providerId="ADAL" clId="{1D0D03E3-3226-4873-A599-0FE1608CAE58}" dt="2024-09-12T14:47:47.729" v="4200" actId="1037"/>
          <ac:spMkLst>
            <pc:docMk/>
            <pc:sldMk cId="4023187732" sldId="4103"/>
            <ac:spMk id="29" creationId="{46435CD7-D916-690B-0F4C-9A9CBE582796}"/>
          </ac:spMkLst>
        </pc:spChg>
        <pc:picChg chg="add mod">
          <ac:chgData name="Hafiz Muhammad Salman" userId="47f5b1ff-37b9-4dd0-a37a-3bc5aec52fa1" providerId="ADAL" clId="{1D0D03E3-3226-4873-A599-0FE1608CAE58}" dt="2024-09-12T14:47:47.729" v="4200" actId="1037"/>
          <ac:picMkLst>
            <pc:docMk/>
            <pc:sldMk cId="4023187732" sldId="4103"/>
            <ac:picMk id="6" creationId="{4A244B8F-98B4-6A77-A3E1-7ED5AF662EC8}"/>
          </ac:picMkLst>
        </pc:picChg>
        <pc:picChg chg="add mod">
          <ac:chgData name="Hafiz Muhammad Salman" userId="47f5b1ff-37b9-4dd0-a37a-3bc5aec52fa1" providerId="ADAL" clId="{1D0D03E3-3226-4873-A599-0FE1608CAE58}" dt="2024-09-12T14:47:47.729" v="4200" actId="1037"/>
          <ac:picMkLst>
            <pc:docMk/>
            <pc:sldMk cId="4023187732" sldId="4103"/>
            <ac:picMk id="30" creationId="{2E04A0EA-00BD-9F7C-2536-398A2D45D7AD}"/>
          </ac:picMkLst>
        </pc:picChg>
        <pc:picChg chg="add mod">
          <ac:chgData name="Hafiz Muhammad Salman" userId="47f5b1ff-37b9-4dd0-a37a-3bc5aec52fa1" providerId="ADAL" clId="{1D0D03E3-3226-4873-A599-0FE1608CAE58}" dt="2024-09-12T14:47:47.729" v="4200" actId="1037"/>
          <ac:picMkLst>
            <pc:docMk/>
            <pc:sldMk cId="4023187732" sldId="4103"/>
            <ac:picMk id="31" creationId="{A1A49785-3753-88D3-EF33-DFAC0D3BC683}"/>
          </ac:picMkLst>
        </pc:picChg>
        <pc:picChg chg="add mod">
          <ac:chgData name="Hafiz Muhammad Salman" userId="47f5b1ff-37b9-4dd0-a37a-3bc5aec52fa1" providerId="ADAL" clId="{1D0D03E3-3226-4873-A599-0FE1608CAE58}" dt="2024-09-12T14:47:47.729" v="4200" actId="1037"/>
          <ac:picMkLst>
            <pc:docMk/>
            <pc:sldMk cId="4023187732" sldId="4103"/>
            <ac:picMk id="32" creationId="{02DD5CA3-BC05-46CC-57A5-58B3C8BA9A1E}"/>
          </ac:picMkLst>
        </pc:picChg>
      </pc:sldChg>
      <pc:sldChg chg="addSp delSp modSp add del mod">
        <pc:chgData name="Hafiz Muhammad Salman" userId="47f5b1ff-37b9-4dd0-a37a-3bc5aec52fa1" providerId="ADAL" clId="{1D0D03E3-3226-4873-A599-0FE1608CAE58}" dt="2024-09-12T14:48:31.912" v="4209" actId="47"/>
        <pc:sldMkLst>
          <pc:docMk/>
          <pc:sldMk cId="824252776" sldId="4104"/>
        </pc:sldMkLst>
        <pc:spChg chg="mod">
          <ac:chgData name="Hafiz Muhammad Salman" userId="47f5b1ff-37b9-4dd0-a37a-3bc5aec52fa1" providerId="ADAL" clId="{1D0D03E3-3226-4873-A599-0FE1608CAE58}" dt="2024-09-11T10:11:53.554" v="1475"/>
          <ac:spMkLst>
            <pc:docMk/>
            <pc:sldMk cId="824252776" sldId="4104"/>
            <ac:spMk id="8" creationId="{AB66817C-548C-4392-94D6-ED2B18A95EA8}"/>
          </ac:spMkLst>
        </pc:spChg>
        <pc:spChg chg="mod">
          <ac:chgData name="Hafiz Muhammad Salman" userId="47f5b1ff-37b9-4dd0-a37a-3bc5aec52fa1" providerId="ADAL" clId="{1D0D03E3-3226-4873-A599-0FE1608CAE58}" dt="2024-09-11T15:13:47.315" v="2841" actId="1038"/>
          <ac:spMkLst>
            <pc:docMk/>
            <pc:sldMk cId="824252776" sldId="4104"/>
            <ac:spMk id="13" creationId="{E2DBF5B5-44E4-9C4A-B7A8-62C196A8945A}"/>
          </ac:spMkLst>
        </pc:spChg>
        <pc:spChg chg="mod">
          <ac:chgData name="Hafiz Muhammad Salman" userId="47f5b1ff-37b9-4dd0-a37a-3bc5aec52fa1" providerId="ADAL" clId="{1D0D03E3-3226-4873-A599-0FE1608CAE58}" dt="2024-09-11T10:13:05.095" v="1476"/>
          <ac:spMkLst>
            <pc:docMk/>
            <pc:sldMk cId="824252776" sldId="4104"/>
            <ac:spMk id="14" creationId="{DD98026F-A297-F548-AAB9-B3799AC1DCFD}"/>
          </ac:spMkLst>
        </pc:spChg>
        <pc:spChg chg="mod">
          <ac:chgData name="Hafiz Muhammad Salman" userId="47f5b1ff-37b9-4dd0-a37a-3bc5aec52fa1" providerId="ADAL" clId="{1D0D03E3-3226-4873-A599-0FE1608CAE58}" dt="2024-09-11T15:13:47.315" v="2841" actId="1038"/>
          <ac:spMkLst>
            <pc:docMk/>
            <pc:sldMk cId="824252776" sldId="4104"/>
            <ac:spMk id="17" creationId="{07CB5B4A-1533-8446-BCED-DC843F0597ED}"/>
          </ac:spMkLst>
        </pc:spChg>
        <pc:spChg chg="mod">
          <ac:chgData name="Hafiz Muhammad Salman" userId="47f5b1ff-37b9-4dd0-a37a-3bc5aec52fa1" providerId="ADAL" clId="{1D0D03E3-3226-4873-A599-0FE1608CAE58}" dt="2024-09-11T10:13:23.211" v="1479" actId="20577"/>
          <ac:spMkLst>
            <pc:docMk/>
            <pc:sldMk cId="824252776" sldId="4104"/>
            <ac:spMk id="18" creationId="{AE7EAAEF-AF19-AE4F-B6A7-7AD62D9091B7}"/>
          </ac:spMkLst>
        </pc:spChg>
        <pc:spChg chg="mod">
          <ac:chgData name="Hafiz Muhammad Salman" userId="47f5b1ff-37b9-4dd0-a37a-3bc5aec52fa1" providerId="ADAL" clId="{1D0D03E3-3226-4873-A599-0FE1608CAE58}" dt="2024-09-11T15:18:01.297" v="2853" actId="20577"/>
          <ac:spMkLst>
            <pc:docMk/>
            <pc:sldMk cId="824252776" sldId="4104"/>
            <ac:spMk id="20" creationId="{D63B4EB4-8D60-FB47-B641-6CF1F3F68041}"/>
          </ac:spMkLst>
        </pc:spChg>
        <pc:picChg chg="add del">
          <ac:chgData name="Hafiz Muhammad Salman" userId="47f5b1ff-37b9-4dd0-a37a-3bc5aec52fa1" providerId="ADAL" clId="{1D0D03E3-3226-4873-A599-0FE1608CAE58}" dt="2024-09-11T11:39:44.233" v="1652" actId="478"/>
          <ac:picMkLst>
            <pc:docMk/>
            <pc:sldMk cId="824252776" sldId="4104"/>
            <ac:picMk id="1026" creationId="{B8DCDDF4-424A-4F29-7C33-598CE9707BA1}"/>
          </ac:picMkLst>
        </pc:picChg>
        <pc:picChg chg="add mod">
          <ac:chgData name="Hafiz Muhammad Salman" userId="47f5b1ff-37b9-4dd0-a37a-3bc5aec52fa1" providerId="ADAL" clId="{1D0D03E3-3226-4873-A599-0FE1608CAE58}" dt="2024-09-11T11:43:39.826" v="1677" actId="1076"/>
          <ac:picMkLst>
            <pc:docMk/>
            <pc:sldMk cId="824252776" sldId="4104"/>
            <ac:picMk id="1028" creationId="{06B9E962-0F5E-4C4C-5A94-F2E6F77954C5}"/>
          </ac:picMkLst>
        </pc:picChg>
        <pc:picChg chg="add mod">
          <ac:chgData name="Hafiz Muhammad Salman" userId="47f5b1ff-37b9-4dd0-a37a-3bc5aec52fa1" providerId="ADAL" clId="{1D0D03E3-3226-4873-A599-0FE1608CAE58}" dt="2024-09-11T11:43:33.447" v="1676" actId="1076"/>
          <ac:picMkLst>
            <pc:docMk/>
            <pc:sldMk cId="824252776" sldId="4104"/>
            <ac:picMk id="1030" creationId="{F9CC46AF-EE33-21F4-A820-56A2EBB8DB25}"/>
          </ac:picMkLst>
        </pc:picChg>
      </pc:sldChg>
      <pc:sldChg chg="addSp modSp add del mod">
        <pc:chgData name="Hafiz Muhammad Salman" userId="47f5b1ff-37b9-4dd0-a37a-3bc5aec52fa1" providerId="ADAL" clId="{1D0D03E3-3226-4873-A599-0FE1608CAE58}" dt="2024-09-12T14:48:35.029" v="4210" actId="47"/>
        <pc:sldMkLst>
          <pc:docMk/>
          <pc:sldMk cId="2910187200" sldId="4105"/>
        </pc:sldMkLst>
        <pc:spChg chg="mod">
          <ac:chgData name="Hafiz Muhammad Salman" userId="47f5b1ff-37b9-4dd0-a37a-3bc5aec52fa1" providerId="ADAL" clId="{1D0D03E3-3226-4873-A599-0FE1608CAE58}" dt="2024-09-11T10:18:37.188" v="1568" actId="20577"/>
          <ac:spMkLst>
            <pc:docMk/>
            <pc:sldMk cId="2910187200" sldId="4105"/>
            <ac:spMk id="8" creationId="{AB66817C-548C-4392-94D6-ED2B18A95EA8}"/>
          </ac:spMkLst>
        </pc:spChg>
        <pc:spChg chg="mod">
          <ac:chgData name="Hafiz Muhammad Salman" userId="47f5b1ff-37b9-4dd0-a37a-3bc5aec52fa1" providerId="ADAL" clId="{1D0D03E3-3226-4873-A599-0FE1608CAE58}" dt="2024-09-11T15:16:54.119" v="2844" actId="1038"/>
          <ac:spMkLst>
            <pc:docMk/>
            <pc:sldMk cId="2910187200" sldId="4105"/>
            <ac:spMk id="13" creationId="{E2DBF5B5-44E4-9C4A-B7A8-62C196A8945A}"/>
          </ac:spMkLst>
        </pc:spChg>
        <pc:spChg chg="mod">
          <ac:chgData name="Hafiz Muhammad Salman" userId="47f5b1ff-37b9-4dd0-a37a-3bc5aec52fa1" providerId="ADAL" clId="{1D0D03E3-3226-4873-A599-0FE1608CAE58}" dt="2024-09-11T10:19:05.589" v="1569"/>
          <ac:spMkLst>
            <pc:docMk/>
            <pc:sldMk cId="2910187200" sldId="4105"/>
            <ac:spMk id="14" creationId="{DD98026F-A297-F548-AAB9-B3799AC1DCFD}"/>
          </ac:spMkLst>
        </pc:spChg>
        <pc:spChg chg="mod">
          <ac:chgData name="Hafiz Muhammad Salman" userId="47f5b1ff-37b9-4dd0-a37a-3bc5aec52fa1" providerId="ADAL" clId="{1D0D03E3-3226-4873-A599-0FE1608CAE58}" dt="2024-09-11T15:16:54.119" v="2844" actId="1038"/>
          <ac:spMkLst>
            <pc:docMk/>
            <pc:sldMk cId="2910187200" sldId="4105"/>
            <ac:spMk id="17" creationId="{07CB5B4A-1533-8446-BCED-DC843F0597ED}"/>
          </ac:spMkLst>
        </pc:spChg>
        <pc:spChg chg="mod">
          <ac:chgData name="Hafiz Muhammad Salman" userId="47f5b1ff-37b9-4dd0-a37a-3bc5aec52fa1" providerId="ADAL" clId="{1D0D03E3-3226-4873-A599-0FE1608CAE58}" dt="2024-09-11T10:19:26.146" v="1571"/>
          <ac:spMkLst>
            <pc:docMk/>
            <pc:sldMk cId="2910187200" sldId="4105"/>
            <ac:spMk id="18" creationId="{AE7EAAEF-AF19-AE4F-B6A7-7AD62D9091B7}"/>
          </ac:spMkLst>
        </pc:spChg>
        <pc:spChg chg="mod">
          <ac:chgData name="Hafiz Muhammad Salman" userId="47f5b1ff-37b9-4dd0-a37a-3bc5aec52fa1" providerId="ADAL" clId="{1D0D03E3-3226-4873-A599-0FE1608CAE58}" dt="2024-09-11T15:16:54.119" v="2844" actId="1038"/>
          <ac:spMkLst>
            <pc:docMk/>
            <pc:sldMk cId="2910187200" sldId="4105"/>
            <ac:spMk id="20" creationId="{D63B4EB4-8D60-FB47-B641-6CF1F3F68041}"/>
          </ac:spMkLst>
        </pc:spChg>
        <pc:picChg chg="add mod">
          <ac:chgData name="Hafiz Muhammad Salman" userId="47f5b1ff-37b9-4dd0-a37a-3bc5aec52fa1" providerId="ADAL" clId="{1D0D03E3-3226-4873-A599-0FE1608CAE58}" dt="2024-09-11T11:43:07.942" v="1675" actId="14100"/>
          <ac:picMkLst>
            <pc:docMk/>
            <pc:sldMk cId="2910187200" sldId="4105"/>
            <ac:picMk id="2050" creationId="{69238757-A590-8DF0-C030-73B0C502231D}"/>
          </ac:picMkLst>
        </pc:picChg>
      </pc:sldChg>
      <pc:sldChg chg="addSp delSp modSp add del mod">
        <pc:chgData name="Hafiz Muhammad Salman" userId="47f5b1ff-37b9-4dd0-a37a-3bc5aec52fa1" providerId="ADAL" clId="{1D0D03E3-3226-4873-A599-0FE1608CAE58}" dt="2024-09-12T14:48:51.109" v="4211" actId="47"/>
        <pc:sldMkLst>
          <pc:docMk/>
          <pc:sldMk cId="2995291237" sldId="4106"/>
        </pc:sldMkLst>
        <pc:spChg chg="mod">
          <ac:chgData name="Hafiz Muhammad Salman" userId="47f5b1ff-37b9-4dd0-a37a-3bc5aec52fa1" providerId="ADAL" clId="{1D0D03E3-3226-4873-A599-0FE1608CAE58}" dt="2024-09-11T10:23:03.709" v="1599"/>
          <ac:spMkLst>
            <pc:docMk/>
            <pc:sldMk cId="2995291237" sldId="4106"/>
            <ac:spMk id="8" creationId="{AB66817C-548C-4392-94D6-ED2B18A95EA8}"/>
          </ac:spMkLst>
        </pc:spChg>
        <pc:spChg chg="mod">
          <ac:chgData name="Hafiz Muhammad Salman" userId="47f5b1ff-37b9-4dd0-a37a-3bc5aec52fa1" providerId="ADAL" clId="{1D0D03E3-3226-4873-A599-0FE1608CAE58}" dt="2024-09-11T15:19:05.098" v="2856" actId="1038"/>
          <ac:spMkLst>
            <pc:docMk/>
            <pc:sldMk cId="2995291237" sldId="4106"/>
            <ac:spMk id="13" creationId="{E2DBF5B5-44E4-9C4A-B7A8-62C196A8945A}"/>
          </ac:spMkLst>
        </pc:spChg>
        <pc:spChg chg="mod">
          <ac:chgData name="Hafiz Muhammad Salman" userId="47f5b1ff-37b9-4dd0-a37a-3bc5aec52fa1" providerId="ADAL" clId="{1D0D03E3-3226-4873-A599-0FE1608CAE58}" dt="2024-09-11T10:23:18.135" v="1600"/>
          <ac:spMkLst>
            <pc:docMk/>
            <pc:sldMk cId="2995291237" sldId="4106"/>
            <ac:spMk id="14" creationId="{DD98026F-A297-F548-AAB9-B3799AC1DCFD}"/>
          </ac:spMkLst>
        </pc:spChg>
        <pc:spChg chg="mod">
          <ac:chgData name="Hafiz Muhammad Salman" userId="47f5b1ff-37b9-4dd0-a37a-3bc5aec52fa1" providerId="ADAL" clId="{1D0D03E3-3226-4873-A599-0FE1608CAE58}" dt="2024-09-11T15:22:30.377" v="3024" actId="20577"/>
          <ac:spMkLst>
            <pc:docMk/>
            <pc:sldMk cId="2995291237" sldId="4106"/>
            <ac:spMk id="17" creationId="{07CB5B4A-1533-8446-BCED-DC843F0597ED}"/>
          </ac:spMkLst>
        </pc:spChg>
        <pc:spChg chg="mod">
          <ac:chgData name="Hafiz Muhammad Salman" userId="47f5b1ff-37b9-4dd0-a37a-3bc5aec52fa1" providerId="ADAL" clId="{1D0D03E3-3226-4873-A599-0FE1608CAE58}" dt="2024-09-11T10:26:07.244" v="1602"/>
          <ac:spMkLst>
            <pc:docMk/>
            <pc:sldMk cId="2995291237" sldId="4106"/>
            <ac:spMk id="18" creationId="{AE7EAAEF-AF19-AE4F-B6A7-7AD62D9091B7}"/>
          </ac:spMkLst>
        </pc:spChg>
        <pc:spChg chg="mod">
          <ac:chgData name="Hafiz Muhammad Salman" userId="47f5b1ff-37b9-4dd0-a37a-3bc5aec52fa1" providerId="ADAL" clId="{1D0D03E3-3226-4873-A599-0FE1608CAE58}" dt="2024-09-11T15:19:05.098" v="2856" actId="1038"/>
          <ac:spMkLst>
            <pc:docMk/>
            <pc:sldMk cId="2995291237" sldId="4106"/>
            <ac:spMk id="20" creationId="{D63B4EB4-8D60-FB47-B641-6CF1F3F68041}"/>
          </ac:spMkLst>
        </pc:spChg>
        <pc:picChg chg="add del mod">
          <ac:chgData name="Hafiz Muhammad Salman" userId="47f5b1ff-37b9-4dd0-a37a-3bc5aec52fa1" providerId="ADAL" clId="{1D0D03E3-3226-4873-A599-0FE1608CAE58}" dt="2024-09-11T11:30:29.880" v="1622" actId="478"/>
          <ac:picMkLst>
            <pc:docMk/>
            <pc:sldMk cId="2995291237" sldId="4106"/>
            <ac:picMk id="4" creationId="{A3C1C424-DCF3-3A7F-1D1E-DEAEB73D240E}"/>
          </ac:picMkLst>
        </pc:picChg>
        <pc:picChg chg="add mod">
          <ac:chgData name="Hafiz Muhammad Salman" userId="47f5b1ff-37b9-4dd0-a37a-3bc5aec52fa1" providerId="ADAL" clId="{1D0D03E3-3226-4873-A599-0FE1608CAE58}" dt="2024-09-11T11:32:28.786" v="1634" actId="1076"/>
          <ac:picMkLst>
            <pc:docMk/>
            <pc:sldMk cId="2995291237" sldId="4106"/>
            <ac:picMk id="7" creationId="{6E1134F9-6CC0-404E-1EB8-6F186772E15D}"/>
          </ac:picMkLst>
        </pc:picChg>
      </pc:sldChg>
      <pc:sldChg chg="addSp delSp modSp add del mod">
        <pc:chgData name="Hafiz Muhammad Salman" userId="47f5b1ff-37b9-4dd0-a37a-3bc5aec52fa1" providerId="ADAL" clId="{1D0D03E3-3226-4873-A599-0FE1608CAE58}" dt="2024-09-12T14:48:57.157" v="4212" actId="47"/>
        <pc:sldMkLst>
          <pc:docMk/>
          <pc:sldMk cId="3910310284" sldId="4107"/>
        </pc:sldMkLst>
        <pc:spChg chg="mod">
          <ac:chgData name="Hafiz Muhammad Salman" userId="47f5b1ff-37b9-4dd0-a37a-3bc5aec52fa1" providerId="ADAL" clId="{1D0D03E3-3226-4873-A599-0FE1608CAE58}" dt="2024-09-11T11:31:39.532" v="1627"/>
          <ac:spMkLst>
            <pc:docMk/>
            <pc:sldMk cId="3910310284" sldId="4107"/>
            <ac:spMk id="8" creationId="{AB66817C-548C-4392-94D6-ED2B18A95EA8}"/>
          </ac:spMkLst>
        </pc:spChg>
        <pc:spChg chg="mod">
          <ac:chgData name="Hafiz Muhammad Salman" userId="47f5b1ff-37b9-4dd0-a37a-3bc5aec52fa1" providerId="ADAL" clId="{1D0D03E3-3226-4873-A599-0FE1608CAE58}" dt="2024-09-11T15:23:22.664" v="3027" actId="1038"/>
          <ac:spMkLst>
            <pc:docMk/>
            <pc:sldMk cId="3910310284" sldId="4107"/>
            <ac:spMk id="13" creationId="{E2DBF5B5-44E4-9C4A-B7A8-62C196A8945A}"/>
          </ac:spMkLst>
        </pc:spChg>
        <pc:spChg chg="mod">
          <ac:chgData name="Hafiz Muhammad Salman" userId="47f5b1ff-37b9-4dd0-a37a-3bc5aec52fa1" providerId="ADAL" clId="{1D0D03E3-3226-4873-A599-0FE1608CAE58}" dt="2024-09-11T11:27:59.121" v="1613"/>
          <ac:spMkLst>
            <pc:docMk/>
            <pc:sldMk cId="3910310284" sldId="4107"/>
            <ac:spMk id="14" creationId="{DD98026F-A297-F548-AAB9-B3799AC1DCFD}"/>
          </ac:spMkLst>
        </pc:spChg>
        <pc:spChg chg="mod">
          <ac:chgData name="Hafiz Muhammad Salman" userId="47f5b1ff-37b9-4dd0-a37a-3bc5aec52fa1" providerId="ADAL" clId="{1D0D03E3-3226-4873-A599-0FE1608CAE58}" dt="2024-09-11T15:23:22.664" v="3027" actId="1038"/>
          <ac:spMkLst>
            <pc:docMk/>
            <pc:sldMk cId="3910310284" sldId="4107"/>
            <ac:spMk id="17" creationId="{07CB5B4A-1533-8446-BCED-DC843F0597ED}"/>
          </ac:spMkLst>
        </pc:spChg>
        <pc:spChg chg="mod">
          <ac:chgData name="Hafiz Muhammad Salman" userId="47f5b1ff-37b9-4dd0-a37a-3bc5aec52fa1" providerId="ADAL" clId="{1D0D03E3-3226-4873-A599-0FE1608CAE58}" dt="2024-09-11T11:29:53.271" v="1618"/>
          <ac:spMkLst>
            <pc:docMk/>
            <pc:sldMk cId="3910310284" sldId="4107"/>
            <ac:spMk id="18" creationId="{AE7EAAEF-AF19-AE4F-B6A7-7AD62D9091B7}"/>
          </ac:spMkLst>
        </pc:spChg>
        <pc:spChg chg="mod">
          <ac:chgData name="Hafiz Muhammad Salman" userId="47f5b1ff-37b9-4dd0-a37a-3bc5aec52fa1" providerId="ADAL" clId="{1D0D03E3-3226-4873-A599-0FE1608CAE58}" dt="2024-09-11T15:23:22.664" v="3027" actId="1038"/>
          <ac:spMkLst>
            <pc:docMk/>
            <pc:sldMk cId="3910310284" sldId="4107"/>
            <ac:spMk id="20" creationId="{D63B4EB4-8D60-FB47-B641-6CF1F3F68041}"/>
          </ac:spMkLst>
        </pc:spChg>
        <pc:picChg chg="del">
          <ac:chgData name="Hafiz Muhammad Salman" userId="47f5b1ff-37b9-4dd0-a37a-3bc5aec52fa1" providerId="ADAL" clId="{1D0D03E3-3226-4873-A599-0FE1608CAE58}" dt="2024-09-11T11:30:22.742" v="1621" actId="478"/>
          <ac:picMkLst>
            <pc:docMk/>
            <pc:sldMk cId="3910310284" sldId="4107"/>
            <ac:picMk id="4" creationId="{A3C1C424-DCF3-3A7F-1D1E-DEAEB73D240E}"/>
          </ac:picMkLst>
        </pc:picChg>
        <pc:picChg chg="add mod">
          <ac:chgData name="Hafiz Muhammad Salman" userId="47f5b1ff-37b9-4dd0-a37a-3bc5aec52fa1" providerId="ADAL" clId="{1D0D03E3-3226-4873-A599-0FE1608CAE58}" dt="2024-09-11T11:32:06.448" v="1629" actId="1076"/>
          <ac:picMkLst>
            <pc:docMk/>
            <pc:sldMk cId="3910310284" sldId="4107"/>
            <ac:picMk id="6" creationId="{D7897F74-A6FE-CC50-FCF1-90F302082BAC}"/>
          </ac:picMkLst>
        </pc:picChg>
      </pc:sldChg>
      <pc:sldChg chg="modSp add del mod">
        <pc:chgData name="Hafiz Muhammad Salman" userId="47f5b1ff-37b9-4dd0-a37a-3bc5aec52fa1" providerId="ADAL" clId="{1D0D03E3-3226-4873-A599-0FE1608CAE58}" dt="2024-09-11T13:20:42.815" v="2582" actId="47"/>
        <pc:sldMkLst>
          <pc:docMk/>
          <pc:sldMk cId="1953234375" sldId="4108"/>
        </pc:sldMkLst>
        <pc:spChg chg="mod">
          <ac:chgData name="Hafiz Muhammad Salman" userId="47f5b1ff-37b9-4dd0-a37a-3bc5aec52fa1" providerId="ADAL" clId="{1D0D03E3-3226-4873-A599-0FE1608CAE58}" dt="2024-09-11T12:18:27.951" v="1750" actId="20577"/>
          <ac:spMkLst>
            <pc:docMk/>
            <pc:sldMk cId="1953234375" sldId="4108"/>
            <ac:spMk id="7" creationId="{984CC95D-C1C4-4972-9A06-DD6AA9B30D83}"/>
          </ac:spMkLst>
        </pc:spChg>
      </pc:sldChg>
      <pc:sldChg chg="modSp mod ord">
        <pc:chgData name="Hafiz Muhammad Salman" userId="47f5b1ff-37b9-4dd0-a37a-3bc5aec52fa1" providerId="ADAL" clId="{1D0D03E3-3226-4873-A599-0FE1608CAE58}" dt="2024-09-18T21:01:16.301" v="5613" actId="20577"/>
        <pc:sldMkLst>
          <pc:docMk/>
          <pc:sldMk cId="637664820" sldId="4109"/>
        </pc:sldMkLst>
        <pc:spChg chg="mod">
          <ac:chgData name="Hafiz Muhammad Salman" userId="47f5b1ff-37b9-4dd0-a37a-3bc5aec52fa1" providerId="ADAL" clId="{1D0D03E3-3226-4873-A599-0FE1608CAE58}" dt="2024-09-11T12:22:16.819" v="1774"/>
          <ac:spMkLst>
            <pc:docMk/>
            <pc:sldMk cId="637664820" sldId="4109"/>
            <ac:spMk id="2" creationId="{79BA13EF-547D-4CDC-B04A-135D011BFE9E}"/>
          </ac:spMkLst>
        </pc:spChg>
        <pc:spChg chg="mod">
          <ac:chgData name="Hafiz Muhammad Salman" userId="47f5b1ff-37b9-4dd0-a37a-3bc5aec52fa1" providerId="ADAL" clId="{1D0D03E3-3226-4873-A599-0FE1608CAE58}" dt="2024-09-16T13:21:12.672" v="4717" actId="1037"/>
          <ac:spMkLst>
            <pc:docMk/>
            <pc:sldMk cId="637664820" sldId="4109"/>
            <ac:spMk id="10" creationId="{EEF8F99F-16DA-1347-AC46-E5EB99CC1174}"/>
          </ac:spMkLst>
        </pc:spChg>
        <pc:spChg chg="mod">
          <ac:chgData name="Hafiz Muhammad Salman" userId="47f5b1ff-37b9-4dd0-a37a-3bc5aec52fa1" providerId="ADAL" clId="{1D0D03E3-3226-4873-A599-0FE1608CAE58}" dt="2024-09-11T12:25:11.661" v="1775"/>
          <ac:spMkLst>
            <pc:docMk/>
            <pc:sldMk cId="637664820" sldId="4109"/>
            <ac:spMk id="11" creationId="{F6A821A8-4487-6B41-93D0-FEE1C96491B0}"/>
          </ac:spMkLst>
        </pc:spChg>
        <pc:spChg chg="mod">
          <ac:chgData name="Hafiz Muhammad Salman" userId="47f5b1ff-37b9-4dd0-a37a-3bc5aec52fa1" providerId="ADAL" clId="{1D0D03E3-3226-4873-A599-0FE1608CAE58}" dt="2024-09-16T13:21:20.744" v="4719" actId="1037"/>
          <ac:spMkLst>
            <pc:docMk/>
            <pc:sldMk cId="637664820" sldId="4109"/>
            <ac:spMk id="14" creationId="{C664376D-80B9-564C-AF71-DFF7DF801962}"/>
          </ac:spMkLst>
        </pc:spChg>
        <pc:spChg chg="mod">
          <ac:chgData name="Hafiz Muhammad Salman" userId="47f5b1ff-37b9-4dd0-a37a-3bc5aec52fa1" providerId="ADAL" clId="{1D0D03E3-3226-4873-A599-0FE1608CAE58}" dt="2024-09-11T12:25:59.292" v="1780"/>
          <ac:spMkLst>
            <pc:docMk/>
            <pc:sldMk cId="637664820" sldId="4109"/>
            <ac:spMk id="15" creationId="{389AA366-826B-4B4B-ACE9-13CF0C3D6981}"/>
          </ac:spMkLst>
        </pc:spChg>
        <pc:spChg chg="mod">
          <ac:chgData name="Hafiz Muhammad Salman" userId="47f5b1ff-37b9-4dd0-a37a-3bc5aec52fa1" providerId="ADAL" clId="{1D0D03E3-3226-4873-A599-0FE1608CAE58}" dt="2024-09-18T21:01:16.301" v="5613" actId="20577"/>
          <ac:spMkLst>
            <pc:docMk/>
            <pc:sldMk cId="637664820" sldId="4109"/>
            <ac:spMk id="16" creationId="{0FA1CE4E-0DF3-1F4F-98B9-22E1EB5A7EFA}"/>
          </ac:spMkLst>
        </pc:spChg>
        <pc:spChg chg="mod">
          <ac:chgData name="Hafiz Muhammad Salman" userId="47f5b1ff-37b9-4dd0-a37a-3bc5aec52fa1" providerId="ADAL" clId="{1D0D03E3-3226-4873-A599-0FE1608CAE58}" dt="2024-09-18T21:00:58.054" v="5601" actId="20577"/>
          <ac:spMkLst>
            <pc:docMk/>
            <pc:sldMk cId="637664820" sldId="4109"/>
            <ac:spMk id="17" creationId="{D239EDAE-0F5C-5646-A07E-24223453D03E}"/>
          </ac:spMkLst>
        </pc:spChg>
        <pc:spChg chg="mod">
          <ac:chgData name="Hafiz Muhammad Salman" userId="47f5b1ff-37b9-4dd0-a37a-3bc5aec52fa1" providerId="ADAL" clId="{1D0D03E3-3226-4873-A599-0FE1608CAE58}" dt="2024-09-11T12:21:53.773" v="1753" actId="790"/>
          <ac:spMkLst>
            <pc:docMk/>
            <pc:sldMk cId="637664820" sldId="4109"/>
            <ac:spMk id="22" creationId="{8000D584-550E-5E4A-A5C7-88DCFF5EAAFE}"/>
          </ac:spMkLst>
        </pc:spChg>
        <pc:spChg chg="mod">
          <ac:chgData name="Hafiz Muhammad Salman" userId="47f5b1ff-37b9-4dd0-a37a-3bc5aec52fa1" providerId="ADAL" clId="{1D0D03E3-3226-4873-A599-0FE1608CAE58}" dt="2024-09-11T12:21:53.777" v="1756" actId="790"/>
          <ac:spMkLst>
            <pc:docMk/>
            <pc:sldMk cId="637664820" sldId="4109"/>
            <ac:spMk id="23" creationId="{8D03D583-4840-E148-8D5C-5553119036F5}"/>
          </ac:spMkLst>
        </pc:spChg>
        <pc:spChg chg="mod">
          <ac:chgData name="Hafiz Muhammad Salman" userId="47f5b1ff-37b9-4dd0-a37a-3bc5aec52fa1" providerId="ADAL" clId="{1D0D03E3-3226-4873-A599-0FE1608CAE58}" dt="2024-09-11T12:21:53.780" v="1759" actId="790"/>
          <ac:spMkLst>
            <pc:docMk/>
            <pc:sldMk cId="637664820" sldId="4109"/>
            <ac:spMk id="24" creationId="{B36DC836-815B-7B49-BE71-53FEF16239A9}"/>
          </ac:spMkLst>
        </pc:spChg>
        <pc:spChg chg="mod">
          <ac:chgData name="Hafiz Muhammad Salman" userId="47f5b1ff-37b9-4dd0-a37a-3bc5aec52fa1" providerId="ADAL" clId="{1D0D03E3-3226-4873-A599-0FE1608CAE58}" dt="2024-09-11T12:21:53.781" v="1760" actId="790"/>
          <ac:spMkLst>
            <pc:docMk/>
            <pc:sldMk cId="637664820" sldId="4109"/>
            <ac:spMk id="39" creationId="{E0D9AD38-A339-3543-BB3E-3490E91ED80C}"/>
          </ac:spMkLst>
        </pc:spChg>
        <pc:spChg chg="mod">
          <ac:chgData name="Hafiz Muhammad Salman" userId="47f5b1ff-37b9-4dd0-a37a-3bc5aec52fa1" providerId="ADAL" clId="{1D0D03E3-3226-4873-A599-0FE1608CAE58}" dt="2024-09-11T12:21:53.782" v="1761" actId="790"/>
          <ac:spMkLst>
            <pc:docMk/>
            <pc:sldMk cId="637664820" sldId="4109"/>
            <ac:spMk id="40" creationId="{EE33AF07-9AFA-FB44-859C-9473A5992ED8}"/>
          </ac:spMkLst>
        </pc:spChg>
        <pc:spChg chg="mod">
          <ac:chgData name="Hafiz Muhammad Salman" userId="47f5b1ff-37b9-4dd0-a37a-3bc5aec52fa1" providerId="ADAL" clId="{1D0D03E3-3226-4873-A599-0FE1608CAE58}" dt="2024-09-11T12:21:53.783" v="1762" actId="790"/>
          <ac:spMkLst>
            <pc:docMk/>
            <pc:sldMk cId="637664820" sldId="4109"/>
            <ac:spMk id="41" creationId="{866DED9F-819C-904C-8058-D1463A190AA4}"/>
          </ac:spMkLst>
        </pc:spChg>
      </pc:sldChg>
      <pc:sldChg chg="addSp delSp modSp del mod">
        <pc:chgData name="Hafiz Muhammad Salman" userId="47f5b1ff-37b9-4dd0-a37a-3bc5aec52fa1" providerId="ADAL" clId="{1D0D03E3-3226-4873-A599-0FE1608CAE58}" dt="2024-09-11T12:53:45.656" v="2229" actId="47"/>
        <pc:sldMkLst>
          <pc:docMk/>
          <pc:sldMk cId="682203912" sldId="4110"/>
        </pc:sldMkLst>
        <pc:spChg chg="mod">
          <ac:chgData name="Hafiz Muhammad Salman" userId="47f5b1ff-37b9-4dd0-a37a-3bc5aec52fa1" providerId="ADAL" clId="{1D0D03E3-3226-4873-A599-0FE1608CAE58}" dt="2024-09-11T12:37:18.390" v="1783" actId="790"/>
          <ac:spMkLst>
            <pc:docMk/>
            <pc:sldMk cId="682203912" sldId="4110"/>
            <ac:spMk id="7" creationId="{865CAA68-8FA2-314A-ADB8-4461C2E16553}"/>
          </ac:spMkLst>
        </pc:spChg>
        <pc:spChg chg="mod">
          <ac:chgData name="Hafiz Muhammad Salman" userId="47f5b1ff-37b9-4dd0-a37a-3bc5aec52fa1" providerId="ADAL" clId="{1D0D03E3-3226-4873-A599-0FE1608CAE58}" dt="2024-09-11T12:37:18.390" v="1785" actId="790"/>
          <ac:spMkLst>
            <pc:docMk/>
            <pc:sldMk cId="682203912" sldId="4110"/>
            <ac:spMk id="8" creationId="{80C8DA0E-7173-A64E-A597-3A293BE2EF59}"/>
          </ac:spMkLst>
        </pc:spChg>
        <pc:spChg chg="mod">
          <ac:chgData name="Hafiz Muhammad Salman" userId="47f5b1ff-37b9-4dd0-a37a-3bc5aec52fa1" providerId="ADAL" clId="{1D0D03E3-3226-4873-A599-0FE1608CAE58}" dt="2024-09-11T12:37:18.390" v="1786" actId="790"/>
          <ac:spMkLst>
            <pc:docMk/>
            <pc:sldMk cId="682203912" sldId="4110"/>
            <ac:spMk id="9" creationId="{B1E7D87B-19EC-DF4E-9944-5294A17D47B9}"/>
          </ac:spMkLst>
        </pc:spChg>
        <pc:spChg chg="mod">
          <ac:chgData name="Hafiz Muhammad Salman" userId="47f5b1ff-37b9-4dd0-a37a-3bc5aec52fa1" providerId="ADAL" clId="{1D0D03E3-3226-4873-A599-0FE1608CAE58}" dt="2024-09-11T12:37:37.589" v="1824" actId="20577"/>
          <ac:spMkLst>
            <pc:docMk/>
            <pc:sldMk cId="682203912" sldId="4110"/>
            <ac:spMk id="23" creationId="{D1A9F8D3-732C-DD41-8BA0-2C3C2E90ECF3}"/>
          </ac:spMkLst>
        </pc:spChg>
        <pc:spChg chg="mod">
          <ac:chgData name="Hafiz Muhammad Salman" userId="47f5b1ff-37b9-4dd0-a37a-3bc5aec52fa1" providerId="ADAL" clId="{1D0D03E3-3226-4873-A599-0FE1608CAE58}" dt="2024-09-11T12:37:18.390" v="1787" actId="790"/>
          <ac:spMkLst>
            <pc:docMk/>
            <pc:sldMk cId="682203912" sldId="4110"/>
            <ac:spMk id="24" creationId="{1FC1CD19-B242-4241-9E8D-E52D4F20B202}"/>
          </ac:spMkLst>
        </pc:spChg>
        <pc:spChg chg="mod">
          <ac:chgData name="Hafiz Muhammad Salman" userId="47f5b1ff-37b9-4dd0-a37a-3bc5aec52fa1" providerId="ADAL" clId="{1D0D03E3-3226-4873-A599-0FE1608CAE58}" dt="2024-09-11T12:37:18.390" v="1788" actId="790"/>
          <ac:spMkLst>
            <pc:docMk/>
            <pc:sldMk cId="682203912" sldId="4110"/>
            <ac:spMk id="25" creationId="{5619466F-ACB2-8D49-B05A-4B51B5024F7C}"/>
          </ac:spMkLst>
        </pc:spChg>
        <pc:spChg chg="mod">
          <ac:chgData name="Hafiz Muhammad Salman" userId="47f5b1ff-37b9-4dd0-a37a-3bc5aec52fa1" providerId="ADAL" clId="{1D0D03E3-3226-4873-A599-0FE1608CAE58}" dt="2024-09-11T12:38:10.846" v="1829" actId="20577"/>
          <ac:spMkLst>
            <pc:docMk/>
            <pc:sldMk cId="682203912" sldId="4110"/>
            <ac:spMk id="31" creationId="{3DD06593-BEE5-1C4A-8717-41A96FDA4158}"/>
          </ac:spMkLst>
        </pc:spChg>
        <pc:spChg chg="add del mod">
          <ac:chgData name="Hafiz Muhammad Salman" userId="47f5b1ff-37b9-4dd0-a37a-3bc5aec52fa1" providerId="ADAL" clId="{1D0D03E3-3226-4873-A599-0FE1608CAE58}" dt="2024-09-11T12:38:12.597" v="1830" actId="478"/>
          <ac:spMkLst>
            <pc:docMk/>
            <pc:sldMk cId="682203912" sldId="4110"/>
            <ac:spMk id="32" creationId="{AD2C15D2-5286-2B4F-9F7D-1FFCAAD39622}"/>
          </ac:spMkLst>
        </pc:spChg>
        <pc:spChg chg="mod">
          <ac:chgData name="Hafiz Muhammad Salman" userId="47f5b1ff-37b9-4dd0-a37a-3bc5aec52fa1" providerId="ADAL" clId="{1D0D03E3-3226-4873-A599-0FE1608CAE58}" dt="2024-09-11T12:37:18.390" v="1789" actId="790"/>
          <ac:spMkLst>
            <pc:docMk/>
            <pc:sldMk cId="682203912" sldId="4110"/>
            <ac:spMk id="33" creationId="{2E385F0F-DE21-D94C-A12B-C9F2B781849B}"/>
          </ac:spMkLst>
        </pc:spChg>
        <pc:spChg chg="mod">
          <ac:chgData name="Hafiz Muhammad Salman" userId="47f5b1ff-37b9-4dd0-a37a-3bc5aec52fa1" providerId="ADAL" clId="{1D0D03E3-3226-4873-A599-0FE1608CAE58}" dt="2024-09-11T12:37:18.390" v="1790" actId="790"/>
          <ac:spMkLst>
            <pc:docMk/>
            <pc:sldMk cId="682203912" sldId="4110"/>
            <ac:spMk id="34" creationId="{8236229B-3403-DC43-9686-672FEB759155}"/>
          </ac:spMkLst>
        </pc:spChg>
        <pc:spChg chg="mod">
          <ac:chgData name="Hafiz Muhammad Salman" userId="47f5b1ff-37b9-4dd0-a37a-3bc5aec52fa1" providerId="ADAL" clId="{1D0D03E3-3226-4873-A599-0FE1608CAE58}" dt="2024-09-11T12:37:18.407" v="1795" actId="790"/>
          <ac:spMkLst>
            <pc:docMk/>
            <pc:sldMk cId="682203912" sldId="4110"/>
            <ac:spMk id="38" creationId="{D81B8393-7BC2-1140-8D4D-2250550A3F2A}"/>
          </ac:spMkLst>
        </pc:spChg>
        <pc:spChg chg="mod">
          <ac:chgData name="Hafiz Muhammad Salman" userId="47f5b1ff-37b9-4dd0-a37a-3bc5aec52fa1" providerId="ADAL" clId="{1D0D03E3-3226-4873-A599-0FE1608CAE58}" dt="2024-09-11T12:37:18.411" v="1796" actId="790"/>
          <ac:spMkLst>
            <pc:docMk/>
            <pc:sldMk cId="682203912" sldId="4110"/>
            <ac:spMk id="39" creationId="{0B43C6AF-7D12-FF42-81D1-CD4583B2A58E}"/>
          </ac:spMkLst>
        </pc:spChg>
        <pc:spChg chg="mod">
          <ac:chgData name="Hafiz Muhammad Salman" userId="47f5b1ff-37b9-4dd0-a37a-3bc5aec52fa1" providerId="ADAL" clId="{1D0D03E3-3226-4873-A599-0FE1608CAE58}" dt="2024-09-11T12:37:18.407" v="1793" actId="790"/>
          <ac:spMkLst>
            <pc:docMk/>
            <pc:sldMk cId="682203912" sldId="4110"/>
            <ac:spMk id="40" creationId="{B4135E0E-BF6D-8341-A00B-AB8BA67EE61F}"/>
          </ac:spMkLst>
        </pc:spChg>
        <pc:spChg chg="mod">
          <ac:chgData name="Hafiz Muhammad Salman" userId="47f5b1ff-37b9-4dd0-a37a-3bc5aec52fa1" providerId="ADAL" clId="{1D0D03E3-3226-4873-A599-0FE1608CAE58}" dt="2024-09-11T12:37:18.407" v="1794" actId="790"/>
          <ac:spMkLst>
            <pc:docMk/>
            <pc:sldMk cId="682203912" sldId="4110"/>
            <ac:spMk id="41" creationId="{04E778C1-8C28-FA43-BA87-8674335D5A31}"/>
          </ac:spMkLst>
        </pc:spChg>
        <pc:spChg chg="mod">
          <ac:chgData name="Hafiz Muhammad Salman" userId="47f5b1ff-37b9-4dd0-a37a-3bc5aec52fa1" providerId="ADAL" clId="{1D0D03E3-3226-4873-A599-0FE1608CAE58}" dt="2024-09-11T12:37:18.413" v="1799" actId="790"/>
          <ac:spMkLst>
            <pc:docMk/>
            <pc:sldMk cId="682203912" sldId="4110"/>
            <ac:spMk id="45" creationId="{042293BD-E57D-334A-9CA0-D8B758CB8403}"/>
          </ac:spMkLst>
        </pc:spChg>
        <pc:spChg chg="mod">
          <ac:chgData name="Hafiz Muhammad Salman" userId="47f5b1ff-37b9-4dd0-a37a-3bc5aec52fa1" providerId="ADAL" clId="{1D0D03E3-3226-4873-A599-0FE1608CAE58}" dt="2024-09-11T12:37:18.413" v="1800" actId="790"/>
          <ac:spMkLst>
            <pc:docMk/>
            <pc:sldMk cId="682203912" sldId="4110"/>
            <ac:spMk id="46" creationId="{F7E3177D-A949-6E4A-8254-F8506A387C71}"/>
          </ac:spMkLst>
        </pc:spChg>
        <pc:spChg chg="mod">
          <ac:chgData name="Hafiz Muhammad Salman" userId="47f5b1ff-37b9-4dd0-a37a-3bc5aec52fa1" providerId="ADAL" clId="{1D0D03E3-3226-4873-A599-0FE1608CAE58}" dt="2024-09-11T12:37:18.413" v="1797" actId="790"/>
          <ac:spMkLst>
            <pc:docMk/>
            <pc:sldMk cId="682203912" sldId="4110"/>
            <ac:spMk id="47" creationId="{84BD51C5-0080-E74A-B81A-D196608ED14B}"/>
          </ac:spMkLst>
        </pc:spChg>
        <pc:spChg chg="mod">
          <ac:chgData name="Hafiz Muhammad Salman" userId="47f5b1ff-37b9-4dd0-a37a-3bc5aec52fa1" providerId="ADAL" clId="{1D0D03E3-3226-4873-A599-0FE1608CAE58}" dt="2024-09-11T12:37:18.413" v="1798" actId="790"/>
          <ac:spMkLst>
            <pc:docMk/>
            <pc:sldMk cId="682203912" sldId="4110"/>
            <ac:spMk id="48" creationId="{719BF284-0C92-5946-939D-B2E1E86C21BB}"/>
          </ac:spMkLst>
        </pc:spChg>
        <pc:spChg chg="mod">
          <ac:chgData name="Hafiz Muhammad Salman" userId="47f5b1ff-37b9-4dd0-a37a-3bc5aec52fa1" providerId="ADAL" clId="{1D0D03E3-3226-4873-A599-0FE1608CAE58}" dt="2024-09-11T12:37:18.413" v="1803" actId="790"/>
          <ac:spMkLst>
            <pc:docMk/>
            <pc:sldMk cId="682203912" sldId="4110"/>
            <ac:spMk id="52" creationId="{77843923-C13C-EF40-A8AE-D434D3180793}"/>
          </ac:spMkLst>
        </pc:spChg>
        <pc:spChg chg="mod">
          <ac:chgData name="Hafiz Muhammad Salman" userId="47f5b1ff-37b9-4dd0-a37a-3bc5aec52fa1" providerId="ADAL" clId="{1D0D03E3-3226-4873-A599-0FE1608CAE58}" dt="2024-09-11T12:37:18.413" v="1804" actId="790"/>
          <ac:spMkLst>
            <pc:docMk/>
            <pc:sldMk cId="682203912" sldId="4110"/>
            <ac:spMk id="53" creationId="{F1BB2442-641A-754F-8859-958EF846B10B}"/>
          </ac:spMkLst>
        </pc:spChg>
        <pc:spChg chg="mod">
          <ac:chgData name="Hafiz Muhammad Salman" userId="47f5b1ff-37b9-4dd0-a37a-3bc5aec52fa1" providerId="ADAL" clId="{1D0D03E3-3226-4873-A599-0FE1608CAE58}" dt="2024-09-11T12:37:18.413" v="1801" actId="790"/>
          <ac:spMkLst>
            <pc:docMk/>
            <pc:sldMk cId="682203912" sldId="4110"/>
            <ac:spMk id="54" creationId="{4E2359C8-F1B7-6241-B35C-99A0EC2173C3}"/>
          </ac:spMkLst>
        </pc:spChg>
        <pc:spChg chg="mod">
          <ac:chgData name="Hafiz Muhammad Salman" userId="47f5b1ff-37b9-4dd0-a37a-3bc5aec52fa1" providerId="ADAL" clId="{1D0D03E3-3226-4873-A599-0FE1608CAE58}" dt="2024-09-11T12:37:18.413" v="1802" actId="790"/>
          <ac:spMkLst>
            <pc:docMk/>
            <pc:sldMk cId="682203912" sldId="4110"/>
            <ac:spMk id="55" creationId="{4BD61D5E-AAC5-2F4B-9035-D984B1A615C1}"/>
          </ac:spMkLst>
        </pc:spChg>
      </pc:sldChg>
      <pc:sldChg chg="addSp delSp modSp add del mod">
        <pc:chgData name="Hafiz Muhammad Salman" userId="47f5b1ff-37b9-4dd0-a37a-3bc5aec52fa1" providerId="ADAL" clId="{1D0D03E3-3226-4873-A599-0FE1608CAE58}" dt="2024-09-12T13:59:57.397" v="3961" actId="2696"/>
        <pc:sldMkLst>
          <pc:docMk/>
          <pc:sldMk cId="2608147756" sldId="4110"/>
        </pc:sldMkLst>
        <pc:spChg chg="mod">
          <ac:chgData name="Hafiz Muhammad Salman" userId="47f5b1ff-37b9-4dd0-a37a-3bc5aec52fa1" providerId="ADAL" clId="{1D0D03E3-3226-4873-A599-0FE1608CAE58}" dt="2024-09-11T15:04:44.141" v="2790" actId="20577"/>
          <ac:spMkLst>
            <pc:docMk/>
            <pc:sldMk cId="2608147756" sldId="4110"/>
            <ac:spMk id="3" creationId="{BB9BCF9D-33DB-4849-98AF-8126CE1E7CCF}"/>
          </ac:spMkLst>
        </pc:spChg>
        <pc:spChg chg="mod">
          <ac:chgData name="Hafiz Muhammad Salman" userId="47f5b1ff-37b9-4dd0-a37a-3bc5aec52fa1" providerId="ADAL" clId="{1D0D03E3-3226-4873-A599-0FE1608CAE58}" dt="2024-09-11T13:17:37.748" v="2493" actId="20577"/>
          <ac:spMkLst>
            <pc:docMk/>
            <pc:sldMk cId="2608147756" sldId="4110"/>
            <ac:spMk id="4" creationId="{3F86D06E-292B-487C-A466-F41284672104}"/>
          </ac:spMkLst>
        </pc:spChg>
        <pc:picChg chg="add mod">
          <ac:chgData name="Hafiz Muhammad Salman" userId="47f5b1ff-37b9-4dd0-a37a-3bc5aec52fa1" providerId="ADAL" clId="{1D0D03E3-3226-4873-A599-0FE1608CAE58}" dt="2024-09-11T13:19:36.147" v="2564" actId="1076"/>
          <ac:picMkLst>
            <pc:docMk/>
            <pc:sldMk cId="2608147756" sldId="4110"/>
            <ac:picMk id="6" creationId="{598F59BF-83A9-E598-1FE0-6E5D5EB9ECC6}"/>
          </ac:picMkLst>
        </pc:picChg>
        <pc:picChg chg="del">
          <ac:chgData name="Hafiz Muhammad Salman" userId="47f5b1ff-37b9-4dd0-a37a-3bc5aec52fa1" providerId="ADAL" clId="{1D0D03E3-3226-4873-A599-0FE1608CAE58}" dt="2024-09-11T13:19:26.452" v="2562" actId="478"/>
          <ac:picMkLst>
            <pc:docMk/>
            <pc:sldMk cId="2608147756" sldId="4110"/>
            <ac:picMk id="1030" creationId="{7185F6B3-080D-13B9-5382-B64B2AB11800}"/>
          </ac:picMkLst>
        </pc:picChg>
      </pc:sldChg>
      <pc:sldChg chg="add del">
        <pc:chgData name="Hafiz Muhammad Salman" userId="47f5b1ff-37b9-4dd0-a37a-3bc5aec52fa1" providerId="ADAL" clId="{1D0D03E3-3226-4873-A599-0FE1608CAE58}" dt="2024-09-11T13:13:29.517" v="2468" actId="47"/>
        <pc:sldMkLst>
          <pc:docMk/>
          <pc:sldMk cId="40376874" sldId="4111"/>
        </pc:sldMkLst>
      </pc:sldChg>
      <pc:sldChg chg="addSp delSp modSp add mod ord">
        <pc:chgData name="Hafiz Muhammad Salman" userId="47f5b1ff-37b9-4dd0-a37a-3bc5aec52fa1" providerId="ADAL" clId="{1D0D03E3-3226-4873-A599-0FE1608CAE58}" dt="2024-09-18T21:02:26.090" v="5628" actId="1036"/>
        <pc:sldMkLst>
          <pc:docMk/>
          <pc:sldMk cId="1104996116" sldId="4111"/>
        </pc:sldMkLst>
        <pc:spChg chg="mod">
          <ac:chgData name="Hafiz Muhammad Salman" userId="47f5b1ff-37b9-4dd0-a37a-3bc5aec52fa1" providerId="ADAL" clId="{1D0D03E3-3226-4873-A599-0FE1608CAE58}" dt="2024-09-18T21:02:26.090" v="5628" actId="1036"/>
          <ac:spMkLst>
            <pc:docMk/>
            <pc:sldMk cId="1104996116" sldId="4111"/>
            <ac:spMk id="2" creationId="{6076B468-3628-A34E-8D62-2526308D830B}"/>
          </ac:spMkLst>
        </pc:spChg>
        <pc:spChg chg="del">
          <ac:chgData name="Hafiz Muhammad Salman" userId="47f5b1ff-37b9-4dd0-a37a-3bc5aec52fa1" providerId="ADAL" clId="{1D0D03E3-3226-4873-A599-0FE1608CAE58}" dt="2024-09-18T21:02:17.437" v="5614" actId="478"/>
          <ac:spMkLst>
            <pc:docMk/>
            <pc:sldMk cId="1104996116" sldId="4111"/>
            <ac:spMk id="3" creationId="{79416472-0357-E949-B0E3-9E67C4E1A8B3}"/>
          </ac:spMkLst>
        </pc:spChg>
        <pc:spChg chg="mod">
          <ac:chgData name="Hafiz Muhammad Salman" userId="47f5b1ff-37b9-4dd0-a37a-3bc5aec52fa1" providerId="ADAL" clId="{1D0D03E3-3226-4873-A599-0FE1608CAE58}" dt="2024-09-18T21:02:26.090" v="5628" actId="1036"/>
          <ac:spMkLst>
            <pc:docMk/>
            <pc:sldMk cId="1104996116" sldId="4111"/>
            <ac:spMk id="5" creationId="{90051B68-682F-A042-81FC-EB1F2336F9F3}"/>
          </ac:spMkLst>
        </pc:spChg>
        <pc:spChg chg="mod">
          <ac:chgData name="Hafiz Muhammad Salman" userId="47f5b1ff-37b9-4dd0-a37a-3bc5aec52fa1" providerId="ADAL" clId="{1D0D03E3-3226-4873-A599-0FE1608CAE58}" dt="2024-09-11T13:40:05.595" v="2651" actId="20577"/>
          <ac:spMkLst>
            <pc:docMk/>
            <pc:sldMk cId="1104996116" sldId="4111"/>
            <ac:spMk id="8" creationId="{AB66817C-548C-4392-94D6-ED2B18A95EA8}"/>
          </ac:spMkLst>
        </pc:spChg>
        <pc:spChg chg="mod">
          <ac:chgData name="Hafiz Muhammad Salman" userId="47f5b1ff-37b9-4dd0-a37a-3bc5aec52fa1" providerId="ADAL" clId="{1D0D03E3-3226-4873-A599-0FE1608CAE58}" dt="2024-09-18T21:02:26.090" v="5628" actId="1036"/>
          <ac:spMkLst>
            <pc:docMk/>
            <pc:sldMk cId="1104996116" sldId="4111"/>
            <ac:spMk id="9" creationId="{62C0552F-D0EA-F340-A5E3-1E1B23BDFD13}"/>
          </ac:spMkLst>
        </pc:spChg>
        <pc:spChg chg="mod">
          <ac:chgData name="Hafiz Muhammad Salman" userId="47f5b1ff-37b9-4dd0-a37a-3bc5aec52fa1" providerId="ADAL" clId="{1D0D03E3-3226-4873-A599-0FE1608CAE58}" dt="2024-09-18T21:02:26.090" v="5628" actId="1036"/>
          <ac:spMkLst>
            <pc:docMk/>
            <pc:sldMk cId="1104996116" sldId="4111"/>
            <ac:spMk id="10" creationId="{06C4BB33-18F5-D14F-9E0A-D78AD10A810D}"/>
          </ac:spMkLst>
        </pc:spChg>
        <pc:spChg chg="del">
          <ac:chgData name="Hafiz Muhammad Salman" userId="47f5b1ff-37b9-4dd0-a37a-3bc5aec52fa1" providerId="ADAL" clId="{1D0D03E3-3226-4873-A599-0FE1608CAE58}" dt="2024-09-18T21:02:17.437" v="5614" actId="478"/>
          <ac:spMkLst>
            <pc:docMk/>
            <pc:sldMk cId="1104996116" sldId="4111"/>
            <ac:spMk id="11" creationId="{9CCFED12-2297-7445-8666-39EB6704EDD9}"/>
          </ac:spMkLst>
        </pc:spChg>
        <pc:spChg chg="mod">
          <ac:chgData name="Hafiz Muhammad Salman" userId="47f5b1ff-37b9-4dd0-a37a-3bc5aec52fa1" providerId="ADAL" clId="{1D0D03E3-3226-4873-A599-0FE1608CAE58}" dt="2024-09-18T21:02:26.090" v="5628" actId="1036"/>
          <ac:spMkLst>
            <pc:docMk/>
            <pc:sldMk cId="1104996116" sldId="4111"/>
            <ac:spMk id="13" creationId="{E2DBF5B5-44E4-9C4A-B7A8-62C196A8945A}"/>
          </ac:spMkLst>
        </pc:spChg>
        <pc:spChg chg="mod">
          <ac:chgData name="Hafiz Muhammad Salman" userId="47f5b1ff-37b9-4dd0-a37a-3bc5aec52fa1" providerId="ADAL" clId="{1D0D03E3-3226-4873-A599-0FE1608CAE58}" dt="2024-09-18T21:02:26.090" v="5628" actId="1036"/>
          <ac:spMkLst>
            <pc:docMk/>
            <pc:sldMk cId="1104996116" sldId="4111"/>
            <ac:spMk id="14" creationId="{DD98026F-A297-F548-AAB9-B3799AC1DCFD}"/>
          </ac:spMkLst>
        </pc:spChg>
        <pc:spChg chg="mod">
          <ac:chgData name="Hafiz Muhammad Salman" userId="47f5b1ff-37b9-4dd0-a37a-3bc5aec52fa1" providerId="ADAL" clId="{1D0D03E3-3226-4873-A599-0FE1608CAE58}" dt="2024-09-18T21:02:26.090" v="5628" actId="1036"/>
          <ac:spMkLst>
            <pc:docMk/>
            <pc:sldMk cId="1104996116" sldId="4111"/>
            <ac:spMk id="17" creationId="{07CB5B4A-1533-8446-BCED-DC843F0597ED}"/>
          </ac:spMkLst>
        </pc:spChg>
        <pc:spChg chg="mod">
          <ac:chgData name="Hafiz Muhammad Salman" userId="47f5b1ff-37b9-4dd0-a37a-3bc5aec52fa1" providerId="ADAL" clId="{1D0D03E3-3226-4873-A599-0FE1608CAE58}" dt="2024-09-18T21:02:26.090" v="5628" actId="1036"/>
          <ac:spMkLst>
            <pc:docMk/>
            <pc:sldMk cId="1104996116" sldId="4111"/>
            <ac:spMk id="18" creationId="{AE7EAAEF-AF19-AE4F-B6A7-7AD62D9091B7}"/>
          </ac:spMkLst>
        </pc:spChg>
        <pc:spChg chg="del mod">
          <ac:chgData name="Hafiz Muhammad Salman" userId="47f5b1ff-37b9-4dd0-a37a-3bc5aec52fa1" providerId="ADAL" clId="{1D0D03E3-3226-4873-A599-0FE1608CAE58}" dt="2024-09-18T21:02:17.437" v="5614" actId="478"/>
          <ac:spMkLst>
            <pc:docMk/>
            <pc:sldMk cId="1104996116" sldId="4111"/>
            <ac:spMk id="20" creationId="{D63B4EB4-8D60-FB47-B641-6CF1F3F68041}"/>
          </ac:spMkLst>
        </pc:spChg>
        <pc:spChg chg="del mod">
          <ac:chgData name="Hafiz Muhammad Salman" userId="47f5b1ff-37b9-4dd0-a37a-3bc5aec52fa1" providerId="ADAL" clId="{1D0D03E3-3226-4873-A599-0FE1608CAE58}" dt="2024-09-18T21:02:17.437" v="5614" actId="478"/>
          <ac:spMkLst>
            <pc:docMk/>
            <pc:sldMk cId="1104996116" sldId="4111"/>
            <ac:spMk id="21" creationId="{94C81924-BC19-1440-911C-C673604EB7ED}"/>
          </ac:spMkLst>
        </pc:spChg>
        <pc:picChg chg="add mod">
          <ac:chgData name="Hafiz Muhammad Salman" userId="47f5b1ff-37b9-4dd0-a37a-3bc5aec52fa1" providerId="ADAL" clId="{1D0D03E3-3226-4873-A599-0FE1608CAE58}" dt="2024-09-12T08:28:14.992" v="3173" actId="14100"/>
          <ac:picMkLst>
            <pc:docMk/>
            <pc:sldMk cId="1104996116" sldId="4111"/>
            <ac:picMk id="4" creationId="{4AC6192D-66A5-003E-E1D5-66B32A6E225E}"/>
          </ac:picMkLst>
        </pc:picChg>
        <pc:picChg chg="del">
          <ac:chgData name="Hafiz Muhammad Salman" userId="47f5b1ff-37b9-4dd0-a37a-3bc5aec52fa1" providerId="ADAL" clId="{1D0D03E3-3226-4873-A599-0FE1608CAE58}" dt="2024-09-11T13:41:39.892" v="2652" actId="478"/>
          <ac:picMkLst>
            <pc:docMk/>
            <pc:sldMk cId="1104996116" sldId="4111"/>
            <ac:picMk id="6" creationId="{D7897F74-A6FE-CC50-FCF1-90F302082BAC}"/>
          </ac:picMkLst>
        </pc:picChg>
      </pc:sldChg>
      <pc:sldChg chg="add del">
        <pc:chgData name="Hafiz Muhammad Salman" userId="47f5b1ff-37b9-4dd0-a37a-3bc5aec52fa1" providerId="ADAL" clId="{1D0D03E3-3226-4873-A599-0FE1608CAE58}" dt="2024-09-11T13:34:51.472" v="2619"/>
        <pc:sldMkLst>
          <pc:docMk/>
          <pc:sldMk cId="3637371984" sldId="4111"/>
        </pc:sldMkLst>
      </pc:sldChg>
      <pc:sldChg chg="modSp del mod">
        <pc:chgData name="Hafiz Muhammad Salman" userId="47f5b1ff-37b9-4dd0-a37a-3bc5aec52fa1" providerId="ADAL" clId="{1D0D03E3-3226-4873-A599-0FE1608CAE58}" dt="2024-09-12T08:22:07.102" v="3092" actId="2696"/>
        <pc:sldMkLst>
          <pc:docMk/>
          <pc:sldMk cId="2055403790" sldId="4112"/>
        </pc:sldMkLst>
        <pc:spChg chg="mod">
          <ac:chgData name="Hafiz Muhammad Salman" userId="47f5b1ff-37b9-4dd0-a37a-3bc5aec52fa1" providerId="ADAL" clId="{1D0D03E3-3226-4873-A599-0FE1608CAE58}" dt="2024-09-12T08:21:55.819" v="3074" actId="790"/>
          <ac:spMkLst>
            <pc:docMk/>
            <pc:sldMk cId="2055403790" sldId="4112"/>
            <ac:spMk id="4" creationId="{4A495FAF-5D62-0045-AC0A-158D503AEA15}"/>
          </ac:spMkLst>
        </pc:spChg>
        <pc:spChg chg="mod">
          <ac:chgData name="Hafiz Muhammad Salman" userId="47f5b1ff-37b9-4dd0-a37a-3bc5aec52fa1" providerId="ADAL" clId="{1D0D03E3-3226-4873-A599-0FE1608CAE58}" dt="2024-09-12T08:21:55.803" v="3060" actId="790"/>
          <ac:spMkLst>
            <pc:docMk/>
            <pc:sldMk cId="2055403790" sldId="4112"/>
            <ac:spMk id="774" creationId="{F41F61D5-A200-9B46-BBC5-0BEF579D4149}"/>
          </ac:spMkLst>
        </pc:spChg>
        <pc:spChg chg="mod">
          <ac:chgData name="Hafiz Muhammad Salman" userId="47f5b1ff-37b9-4dd0-a37a-3bc5aec52fa1" providerId="ADAL" clId="{1D0D03E3-3226-4873-A599-0FE1608CAE58}" dt="2024-09-12T08:21:55.802" v="3059" actId="790"/>
          <ac:spMkLst>
            <pc:docMk/>
            <pc:sldMk cId="2055403790" sldId="4112"/>
            <ac:spMk id="775" creationId="{0F206F5F-F544-D04F-AC6F-2AD12007B91F}"/>
          </ac:spMkLst>
        </pc:spChg>
        <pc:spChg chg="mod">
          <ac:chgData name="Hafiz Muhammad Salman" userId="47f5b1ff-37b9-4dd0-a37a-3bc5aec52fa1" providerId="ADAL" clId="{1D0D03E3-3226-4873-A599-0FE1608CAE58}" dt="2024-09-12T08:21:55.799" v="3055" actId="790"/>
          <ac:spMkLst>
            <pc:docMk/>
            <pc:sldMk cId="2055403790" sldId="4112"/>
            <ac:spMk id="776" creationId="{C32B2A8A-FF2F-314C-A7B1-2D05422C9B79}"/>
          </ac:spMkLst>
        </pc:spChg>
        <pc:spChg chg="mod">
          <ac:chgData name="Hafiz Muhammad Salman" userId="47f5b1ff-37b9-4dd0-a37a-3bc5aec52fa1" providerId="ADAL" clId="{1D0D03E3-3226-4873-A599-0FE1608CAE58}" dt="2024-09-12T08:21:55.800" v="3056" actId="790"/>
          <ac:spMkLst>
            <pc:docMk/>
            <pc:sldMk cId="2055403790" sldId="4112"/>
            <ac:spMk id="777" creationId="{58DF6B7B-B1FB-AA4D-9A7B-8C1C1AF4113B}"/>
          </ac:spMkLst>
        </pc:spChg>
        <pc:spChg chg="mod">
          <ac:chgData name="Hafiz Muhammad Salman" userId="47f5b1ff-37b9-4dd0-a37a-3bc5aec52fa1" providerId="ADAL" clId="{1D0D03E3-3226-4873-A599-0FE1608CAE58}" dt="2024-09-12T08:21:55.801" v="3058" actId="790"/>
          <ac:spMkLst>
            <pc:docMk/>
            <pc:sldMk cId="2055403790" sldId="4112"/>
            <ac:spMk id="778" creationId="{D3592533-C7A6-A147-9DE3-794065E4E6BC}"/>
          </ac:spMkLst>
        </pc:spChg>
        <pc:spChg chg="mod">
          <ac:chgData name="Hafiz Muhammad Salman" userId="47f5b1ff-37b9-4dd0-a37a-3bc5aec52fa1" providerId="ADAL" clId="{1D0D03E3-3226-4873-A599-0FE1608CAE58}" dt="2024-09-12T08:21:55.801" v="3057" actId="790"/>
          <ac:spMkLst>
            <pc:docMk/>
            <pc:sldMk cId="2055403790" sldId="4112"/>
            <ac:spMk id="779" creationId="{F3A110C9-0FA4-EE48-9D31-0C6C289844EE}"/>
          </ac:spMkLst>
        </pc:spChg>
        <pc:spChg chg="mod">
          <ac:chgData name="Hafiz Muhammad Salman" userId="47f5b1ff-37b9-4dd0-a37a-3bc5aec52fa1" providerId="ADAL" clId="{1D0D03E3-3226-4873-A599-0FE1608CAE58}" dt="2024-09-12T08:21:55.817" v="3073" actId="790"/>
          <ac:spMkLst>
            <pc:docMk/>
            <pc:sldMk cId="2055403790" sldId="4112"/>
            <ac:spMk id="780" creationId="{9B5106E7-2871-1344-82CF-0CA69BA86D8F}"/>
          </ac:spMkLst>
        </pc:spChg>
        <pc:spChg chg="mod">
          <ac:chgData name="Hafiz Muhammad Salman" userId="47f5b1ff-37b9-4dd0-a37a-3bc5aec52fa1" providerId="ADAL" clId="{1D0D03E3-3226-4873-A599-0FE1608CAE58}" dt="2024-09-12T08:21:55.814" v="3071" actId="790"/>
          <ac:spMkLst>
            <pc:docMk/>
            <pc:sldMk cId="2055403790" sldId="4112"/>
            <ac:spMk id="781" creationId="{2B30222B-F2E2-4449-AED8-18D673F93CED}"/>
          </ac:spMkLst>
        </pc:spChg>
        <pc:spChg chg="mod">
          <ac:chgData name="Hafiz Muhammad Salman" userId="47f5b1ff-37b9-4dd0-a37a-3bc5aec52fa1" providerId="ADAL" clId="{1D0D03E3-3226-4873-A599-0FE1608CAE58}" dt="2024-09-12T08:21:55.813" v="3070" actId="790"/>
          <ac:spMkLst>
            <pc:docMk/>
            <pc:sldMk cId="2055403790" sldId="4112"/>
            <ac:spMk id="782" creationId="{D7AD66F2-0DC9-E94D-ACEB-A1D68C41E6F1}"/>
          </ac:spMkLst>
        </pc:spChg>
        <pc:spChg chg="mod">
          <ac:chgData name="Hafiz Muhammad Salman" userId="47f5b1ff-37b9-4dd0-a37a-3bc5aec52fa1" providerId="ADAL" clId="{1D0D03E3-3226-4873-A599-0FE1608CAE58}" dt="2024-09-12T08:21:55.820" v="3075" actId="790"/>
          <ac:spMkLst>
            <pc:docMk/>
            <pc:sldMk cId="2055403790" sldId="4112"/>
            <ac:spMk id="789" creationId="{57FF862F-AF90-D043-BC03-30760DEEF787}"/>
          </ac:spMkLst>
        </pc:spChg>
        <pc:spChg chg="mod">
          <ac:chgData name="Hafiz Muhammad Salman" userId="47f5b1ff-37b9-4dd0-a37a-3bc5aec52fa1" providerId="ADAL" clId="{1D0D03E3-3226-4873-A599-0FE1608CAE58}" dt="2024-09-12T08:21:55.821" v="3076" actId="790"/>
          <ac:spMkLst>
            <pc:docMk/>
            <pc:sldMk cId="2055403790" sldId="4112"/>
            <ac:spMk id="791" creationId="{362FB521-EBC7-B344-8615-1981DEF453B0}"/>
          </ac:spMkLst>
        </pc:spChg>
        <pc:spChg chg="mod">
          <ac:chgData name="Hafiz Muhammad Salman" userId="47f5b1ff-37b9-4dd0-a37a-3bc5aec52fa1" providerId="ADAL" clId="{1D0D03E3-3226-4873-A599-0FE1608CAE58}" dt="2024-09-12T08:21:55.822" v="3077" actId="790"/>
          <ac:spMkLst>
            <pc:docMk/>
            <pc:sldMk cId="2055403790" sldId="4112"/>
            <ac:spMk id="796" creationId="{D8B1427F-3321-3A47-90CB-FF3645F647E6}"/>
          </ac:spMkLst>
        </pc:spChg>
        <pc:spChg chg="mod">
          <ac:chgData name="Hafiz Muhammad Salman" userId="47f5b1ff-37b9-4dd0-a37a-3bc5aec52fa1" providerId="ADAL" clId="{1D0D03E3-3226-4873-A599-0FE1608CAE58}" dt="2024-09-12T08:21:55.824" v="3078" actId="790"/>
          <ac:spMkLst>
            <pc:docMk/>
            <pc:sldMk cId="2055403790" sldId="4112"/>
            <ac:spMk id="797" creationId="{6070C4B6-3146-0C40-A6B8-9D30FA5C3D91}"/>
          </ac:spMkLst>
        </pc:spChg>
        <pc:spChg chg="mod">
          <ac:chgData name="Hafiz Muhammad Salman" userId="47f5b1ff-37b9-4dd0-a37a-3bc5aec52fa1" providerId="ADAL" clId="{1D0D03E3-3226-4873-A599-0FE1608CAE58}" dt="2024-09-12T08:21:55.825" v="3079" actId="790"/>
          <ac:spMkLst>
            <pc:docMk/>
            <pc:sldMk cId="2055403790" sldId="4112"/>
            <ac:spMk id="798" creationId="{419A36DB-4987-4844-A3F5-89639E1C5C49}"/>
          </ac:spMkLst>
        </pc:spChg>
        <pc:spChg chg="mod">
          <ac:chgData name="Hafiz Muhammad Salman" userId="47f5b1ff-37b9-4dd0-a37a-3bc5aec52fa1" providerId="ADAL" clId="{1D0D03E3-3226-4873-A599-0FE1608CAE58}" dt="2024-09-12T08:21:55.826" v="3080" actId="790"/>
          <ac:spMkLst>
            <pc:docMk/>
            <pc:sldMk cId="2055403790" sldId="4112"/>
            <ac:spMk id="801" creationId="{8876887E-C24F-2743-A601-C2730435DA63}"/>
          </ac:spMkLst>
        </pc:spChg>
        <pc:spChg chg="mod">
          <ac:chgData name="Hafiz Muhammad Salman" userId="47f5b1ff-37b9-4dd0-a37a-3bc5aec52fa1" providerId="ADAL" clId="{1D0D03E3-3226-4873-A599-0FE1608CAE58}" dt="2024-09-12T08:21:55.827" v="3081" actId="790"/>
          <ac:spMkLst>
            <pc:docMk/>
            <pc:sldMk cId="2055403790" sldId="4112"/>
            <ac:spMk id="802" creationId="{3F5F8DDB-1FDB-C14B-B839-C63970B8069A}"/>
          </ac:spMkLst>
        </pc:spChg>
        <pc:spChg chg="mod">
          <ac:chgData name="Hafiz Muhammad Salman" userId="47f5b1ff-37b9-4dd0-a37a-3bc5aec52fa1" providerId="ADAL" clId="{1D0D03E3-3226-4873-A599-0FE1608CAE58}" dt="2024-09-12T08:21:55.829" v="3082" actId="790"/>
          <ac:spMkLst>
            <pc:docMk/>
            <pc:sldMk cId="2055403790" sldId="4112"/>
            <ac:spMk id="803" creationId="{DDF11872-F6F7-0247-8D78-6008B6790F1D}"/>
          </ac:spMkLst>
        </pc:spChg>
        <pc:spChg chg="mod">
          <ac:chgData name="Hafiz Muhammad Salman" userId="47f5b1ff-37b9-4dd0-a37a-3bc5aec52fa1" providerId="ADAL" clId="{1D0D03E3-3226-4873-A599-0FE1608CAE58}" dt="2024-09-12T08:21:55.830" v="3083" actId="790"/>
          <ac:spMkLst>
            <pc:docMk/>
            <pc:sldMk cId="2055403790" sldId="4112"/>
            <ac:spMk id="806" creationId="{23C711EB-2757-B84A-B353-64B832C10E74}"/>
          </ac:spMkLst>
        </pc:spChg>
        <pc:spChg chg="mod">
          <ac:chgData name="Hafiz Muhammad Salman" userId="47f5b1ff-37b9-4dd0-a37a-3bc5aec52fa1" providerId="ADAL" clId="{1D0D03E3-3226-4873-A599-0FE1608CAE58}" dt="2024-09-12T08:21:55.833" v="3084" actId="790"/>
          <ac:spMkLst>
            <pc:docMk/>
            <pc:sldMk cId="2055403790" sldId="4112"/>
            <ac:spMk id="807" creationId="{9170FEC8-DA4E-E044-A6D7-DC6089277E7C}"/>
          </ac:spMkLst>
        </pc:spChg>
        <pc:spChg chg="mod">
          <ac:chgData name="Hafiz Muhammad Salman" userId="47f5b1ff-37b9-4dd0-a37a-3bc5aec52fa1" providerId="ADAL" clId="{1D0D03E3-3226-4873-A599-0FE1608CAE58}" dt="2024-09-12T08:21:55.834" v="3085" actId="790"/>
          <ac:spMkLst>
            <pc:docMk/>
            <pc:sldMk cId="2055403790" sldId="4112"/>
            <ac:spMk id="808" creationId="{A1E06ED9-195E-FD4D-A602-53916FFB6A7A}"/>
          </ac:spMkLst>
        </pc:spChg>
        <pc:spChg chg="mod">
          <ac:chgData name="Hafiz Muhammad Salman" userId="47f5b1ff-37b9-4dd0-a37a-3bc5aec52fa1" providerId="ADAL" clId="{1D0D03E3-3226-4873-A599-0FE1608CAE58}" dt="2024-09-12T08:21:55.835" v="3086" actId="790"/>
          <ac:spMkLst>
            <pc:docMk/>
            <pc:sldMk cId="2055403790" sldId="4112"/>
            <ac:spMk id="811" creationId="{2216BBEA-15F6-8945-83C7-8C1572E7D815}"/>
          </ac:spMkLst>
        </pc:spChg>
        <pc:spChg chg="mod">
          <ac:chgData name="Hafiz Muhammad Salman" userId="47f5b1ff-37b9-4dd0-a37a-3bc5aec52fa1" providerId="ADAL" clId="{1D0D03E3-3226-4873-A599-0FE1608CAE58}" dt="2024-09-12T08:21:55.837" v="3087" actId="790"/>
          <ac:spMkLst>
            <pc:docMk/>
            <pc:sldMk cId="2055403790" sldId="4112"/>
            <ac:spMk id="812" creationId="{A6482032-6BBE-EB4E-AC34-12839BA7ED07}"/>
          </ac:spMkLst>
        </pc:spChg>
        <pc:spChg chg="mod">
          <ac:chgData name="Hafiz Muhammad Salman" userId="47f5b1ff-37b9-4dd0-a37a-3bc5aec52fa1" providerId="ADAL" clId="{1D0D03E3-3226-4873-A599-0FE1608CAE58}" dt="2024-09-12T08:21:55.838" v="3088" actId="790"/>
          <ac:spMkLst>
            <pc:docMk/>
            <pc:sldMk cId="2055403790" sldId="4112"/>
            <ac:spMk id="813" creationId="{003888AB-A9BB-A64F-8AA8-B076FA9DF5A4}"/>
          </ac:spMkLst>
        </pc:spChg>
        <pc:spChg chg="mod">
          <ac:chgData name="Hafiz Muhammad Salman" userId="47f5b1ff-37b9-4dd0-a37a-3bc5aec52fa1" providerId="ADAL" clId="{1D0D03E3-3226-4873-A599-0FE1608CAE58}" dt="2024-09-12T08:21:55.839" v="3089" actId="790"/>
          <ac:spMkLst>
            <pc:docMk/>
            <pc:sldMk cId="2055403790" sldId="4112"/>
            <ac:spMk id="816" creationId="{F5FE790D-D8F4-224B-A2B2-30698AA715C8}"/>
          </ac:spMkLst>
        </pc:spChg>
        <pc:spChg chg="mod">
          <ac:chgData name="Hafiz Muhammad Salman" userId="47f5b1ff-37b9-4dd0-a37a-3bc5aec52fa1" providerId="ADAL" clId="{1D0D03E3-3226-4873-A599-0FE1608CAE58}" dt="2024-09-12T08:21:55.841" v="3090" actId="790"/>
          <ac:spMkLst>
            <pc:docMk/>
            <pc:sldMk cId="2055403790" sldId="4112"/>
            <ac:spMk id="817" creationId="{41E96E01-7D78-0544-B440-3073E0A1F586}"/>
          </ac:spMkLst>
        </pc:spChg>
        <pc:spChg chg="mod">
          <ac:chgData name="Hafiz Muhammad Salman" userId="47f5b1ff-37b9-4dd0-a37a-3bc5aec52fa1" providerId="ADAL" clId="{1D0D03E3-3226-4873-A599-0FE1608CAE58}" dt="2024-09-12T08:21:55.842" v="3091" actId="790"/>
          <ac:spMkLst>
            <pc:docMk/>
            <pc:sldMk cId="2055403790" sldId="4112"/>
            <ac:spMk id="818" creationId="{0D8AE676-8E52-3142-B8E2-8EB2B3869302}"/>
          </ac:spMkLst>
        </pc:spChg>
        <pc:spChg chg="mod">
          <ac:chgData name="Hafiz Muhammad Salman" userId="47f5b1ff-37b9-4dd0-a37a-3bc5aec52fa1" providerId="ADAL" clId="{1D0D03E3-3226-4873-A599-0FE1608CAE58}" dt="2024-09-12T08:21:55.791" v="3049" actId="790"/>
          <ac:spMkLst>
            <pc:docMk/>
            <pc:sldMk cId="2055403790" sldId="4112"/>
            <ac:spMk id="3081" creationId="{50370BD8-D791-9C4F-8128-EB49E2BBB7C8}"/>
          </ac:spMkLst>
        </pc:spChg>
        <pc:spChg chg="mod">
          <ac:chgData name="Hafiz Muhammad Salman" userId="47f5b1ff-37b9-4dd0-a37a-3bc5aec52fa1" providerId="ADAL" clId="{1D0D03E3-3226-4873-A599-0FE1608CAE58}" dt="2024-09-12T08:21:55.792" v="3050" actId="790"/>
          <ac:spMkLst>
            <pc:docMk/>
            <pc:sldMk cId="2055403790" sldId="4112"/>
            <ac:spMk id="3082" creationId="{5A2D9074-89E9-FE4D-9331-70F344EB36CA}"/>
          </ac:spMkLst>
        </pc:spChg>
        <pc:spChg chg="mod">
          <ac:chgData name="Hafiz Muhammad Salman" userId="47f5b1ff-37b9-4dd0-a37a-3bc5aec52fa1" providerId="ADAL" clId="{1D0D03E3-3226-4873-A599-0FE1608CAE58}" dt="2024-09-12T08:21:55.794" v="3051" actId="790"/>
          <ac:spMkLst>
            <pc:docMk/>
            <pc:sldMk cId="2055403790" sldId="4112"/>
            <ac:spMk id="3083" creationId="{10E069A9-3D4B-624B-9848-9864D9DD3081}"/>
          </ac:spMkLst>
        </pc:spChg>
        <pc:spChg chg="mod">
          <ac:chgData name="Hafiz Muhammad Salman" userId="47f5b1ff-37b9-4dd0-a37a-3bc5aec52fa1" providerId="ADAL" clId="{1D0D03E3-3226-4873-A599-0FE1608CAE58}" dt="2024-09-12T08:21:55.795" v="3052" actId="790"/>
          <ac:spMkLst>
            <pc:docMk/>
            <pc:sldMk cId="2055403790" sldId="4112"/>
            <ac:spMk id="3084" creationId="{98BA90CB-7CFE-ED4C-AD37-DAC3D64F5F2B}"/>
          </ac:spMkLst>
        </pc:spChg>
        <pc:spChg chg="mod">
          <ac:chgData name="Hafiz Muhammad Salman" userId="47f5b1ff-37b9-4dd0-a37a-3bc5aec52fa1" providerId="ADAL" clId="{1D0D03E3-3226-4873-A599-0FE1608CAE58}" dt="2024-09-12T08:21:55.796" v="3053" actId="790"/>
          <ac:spMkLst>
            <pc:docMk/>
            <pc:sldMk cId="2055403790" sldId="4112"/>
            <ac:spMk id="3085" creationId="{4FF526A3-47C6-EA4A-8D75-0D0A7E95B016}"/>
          </ac:spMkLst>
        </pc:spChg>
        <pc:spChg chg="mod">
          <ac:chgData name="Hafiz Muhammad Salman" userId="47f5b1ff-37b9-4dd0-a37a-3bc5aec52fa1" providerId="ADAL" clId="{1D0D03E3-3226-4873-A599-0FE1608CAE58}" dt="2024-09-12T08:21:55.798" v="3054" actId="790"/>
          <ac:spMkLst>
            <pc:docMk/>
            <pc:sldMk cId="2055403790" sldId="4112"/>
            <ac:spMk id="3086" creationId="{11B8199A-927F-9D48-A79D-CA800FB70B0C}"/>
          </ac:spMkLst>
        </pc:spChg>
        <pc:spChg chg="mod">
          <ac:chgData name="Hafiz Muhammad Salman" userId="47f5b1ff-37b9-4dd0-a37a-3bc5aec52fa1" providerId="ADAL" clId="{1D0D03E3-3226-4873-A599-0FE1608CAE58}" dt="2024-09-12T08:21:55.805" v="3061" actId="790"/>
          <ac:spMkLst>
            <pc:docMk/>
            <pc:sldMk cId="2055403790" sldId="4112"/>
            <ac:spMk id="3822" creationId="{E177F1DB-B020-C145-A362-EE93252D77DF}"/>
          </ac:spMkLst>
        </pc:spChg>
        <pc:spChg chg="mod">
          <ac:chgData name="Hafiz Muhammad Salman" userId="47f5b1ff-37b9-4dd0-a37a-3bc5aec52fa1" providerId="ADAL" clId="{1D0D03E3-3226-4873-A599-0FE1608CAE58}" dt="2024-09-12T08:21:55.805" v="3062" actId="790"/>
          <ac:spMkLst>
            <pc:docMk/>
            <pc:sldMk cId="2055403790" sldId="4112"/>
            <ac:spMk id="3823" creationId="{49D05CA1-48ED-A84E-8A1A-116378DDF8FD}"/>
          </ac:spMkLst>
        </pc:spChg>
        <pc:spChg chg="mod">
          <ac:chgData name="Hafiz Muhammad Salman" userId="47f5b1ff-37b9-4dd0-a37a-3bc5aec52fa1" providerId="ADAL" clId="{1D0D03E3-3226-4873-A599-0FE1608CAE58}" dt="2024-09-12T08:21:55.806" v="3063" actId="790"/>
          <ac:spMkLst>
            <pc:docMk/>
            <pc:sldMk cId="2055403790" sldId="4112"/>
            <ac:spMk id="3824" creationId="{DA0E771C-F395-3F42-82C3-C70B6A383080}"/>
          </ac:spMkLst>
        </pc:spChg>
        <pc:spChg chg="mod">
          <ac:chgData name="Hafiz Muhammad Salman" userId="47f5b1ff-37b9-4dd0-a37a-3bc5aec52fa1" providerId="ADAL" clId="{1D0D03E3-3226-4873-A599-0FE1608CAE58}" dt="2024-09-12T08:21:55.807" v="3064" actId="790"/>
          <ac:spMkLst>
            <pc:docMk/>
            <pc:sldMk cId="2055403790" sldId="4112"/>
            <ac:spMk id="3825" creationId="{8EA68751-C4E8-D84F-A908-8161976DCB1A}"/>
          </ac:spMkLst>
        </pc:spChg>
        <pc:spChg chg="mod">
          <ac:chgData name="Hafiz Muhammad Salman" userId="47f5b1ff-37b9-4dd0-a37a-3bc5aec52fa1" providerId="ADAL" clId="{1D0D03E3-3226-4873-A599-0FE1608CAE58}" dt="2024-09-12T08:21:55.808" v="3065" actId="790"/>
          <ac:spMkLst>
            <pc:docMk/>
            <pc:sldMk cId="2055403790" sldId="4112"/>
            <ac:spMk id="3826" creationId="{65437BB1-E02F-C048-A3A0-AF1E85F537C4}"/>
          </ac:spMkLst>
        </pc:spChg>
        <pc:spChg chg="mod">
          <ac:chgData name="Hafiz Muhammad Salman" userId="47f5b1ff-37b9-4dd0-a37a-3bc5aec52fa1" providerId="ADAL" clId="{1D0D03E3-3226-4873-A599-0FE1608CAE58}" dt="2024-09-12T08:21:55.809" v="3066" actId="790"/>
          <ac:spMkLst>
            <pc:docMk/>
            <pc:sldMk cId="2055403790" sldId="4112"/>
            <ac:spMk id="3827" creationId="{2BA40098-4273-BA42-B7FF-892964B05323}"/>
          </ac:spMkLst>
        </pc:spChg>
        <pc:spChg chg="mod">
          <ac:chgData name="Hafiz Muhammad Salman" userId="47f5b1ff-37b9-4dd0-a37a-3bc5aec52fa1" providerId="ADAL" clId="{1D0D03E3-3226-4873-A599-0FE1608CAE58}" dt="2024-09-12T08:21:55.809" v="3067" actId="790"/>
          <ac:spMkLst>
            <pc:docMk/>
            <pc:sldMk cId="2055403790" sldId="4112"/>
            <ac:spMk id="3828" creationId="{562A0238-1049-8D40-841B-94C417162BF7}"/>
          </ac:spMkLst>
        </pc:spChg>
        <pc:spChg chg="mod">
          <ac:chgData name="Hafiz Muhammad Salman" userId="47f5b1ff-37b9-4dd0-a37a-3bc5aec52fa1" providerId="ADAL" clId="{1D0D03E3-3226-4873-A599-0FE1608CAE58}" dt="2024-09-12T08:21:55.810" v="3068" actId="790"/>
          <ac:spMkLst>
            <pc:docMk/>
            <pc:sldMk cId="2055403790" sldId="4112"/>
            <ac:spMk id="3829" creationId="{5992227E-8DD8-D848-8F93-13897ACFA1B8}"/>
          </ac:spMkLst>
        </pc:spChg>
        <pc:spChg chg="mod">
          <ac:chgData name="Hafiz Muhammad Salman" userId="47f5b1ff-37b9-4dd0-a37a-3bc5aec52fa1" providerId="ADAL" clId="{1D0D03E3-3226-4873-A599-0FE1608CAE58}" dt="2024-09-12T08:21:55.812" v="3069" actId="790"/>
          <ac:spMkLst>
            <pc:docMk/>
            <pc:sldMk cId="2055403790" sldId="4112"/>
            <ac:spMk id="3830" creationId="{633CDBDF-5251-7043-8EDA-09E2EFC51A36}"/>
          </ac:spMkLst>
        </pc:spChg>
        <pc:spChg chg="mod">
          <ac:chgData name="Hafiz Muhammad Salman" userId="47f5b1ff-37b9-4dd0-a37a-3bc5aec52fa1" providerId="ADAL" clId="{1D0D03E3-3226-4873-A599-0FE1608CAE58}" dt="2024-09-12T08:21:55.816" v="3072" actId="790"/>
          <ac:spMkLst>
            <pc:docMk/>
            <pc:sldMk cId="2055403790" sldId="4112"/>
            <ac:spMk id="3841" creationId="{806C06EB-80E7-9E42-808A-7773276D9605}"/>
          </ac:spMkLst>
        </pc:spChg>
      </pc:sldChg>
      <pc:sldChg chg="delSp modSp del mod">
        <pc:chgData name="Hafiz Muhammad Salman" userId="47f5b1ff-37b9-4dd0-a37a-3bc5aec52fa1" providerId="ADAL" clId="{1D0D03E3-3226-4873-A599-0FE1608CAE58}" dt="2024-09-12T10:01:57.864" v="3956" actId="47"/>
        <pc:sldMkLst>
          <pc:docMk/>
          <pc:sldMk cId="3511057684" sldId="4116"/>
        </pc:sldMkLst>
        <pc:spChg chg="mod">
          <ac:chgData name="Hafiz Muhammad Salman" userId="47f5b1ff-37b9-4dd0-a37a-3bc5aec52fa1" providerId="ADAL" clId="{1D0D03E3-3226-4873-A599-0FE1608CAE58}" dt="2024-09-12T08:27:22.643" v="3093" actId="790"/>
          <ac:spMkLst>
            <pc:docMk/>
            <pc:sldMk cId="3511057684" sldId="4116"/>
            <ac:spMk id="4" creationId="{E2FD04AC-D5D8-5D41-A6FF-A1DB5AA96D42}"/>
          </ac:spMkLst>
        </pc:spChg>
        <pc:spChg chg="mod">
          <ac:chgData name="Hafiz Muhammad Salman" userId="47f5b1ff-37b9-4dd0-a37a-3bc5aec52fa1" providerId="ADAL" clId="{1D0D03E3-3226-4873-A599-0FE1608CAE58}" dt="2024-09-12T08:27:22.645" v="3094" actId="790"/>
          <ac:spMkLst>
            <pc:docMk/>
            <pc:sldMk cId="3511057684" sldId="4116"/>
            <ac:spMk id="5" creationId="{4E187B57-8D54-D241-89F2-F64E281E9ABE}"/>
          </ac:spMkLst>
        </pc:spChg>
        <pc:spChg chg="mod">
          <ac:chgData name="Hafiz Muhammad Salman" userId="47f5b1ff-37b9-4dd0-a37a-3bc5aec52fa1" providerId="ADAL" clId="{1D0D03E3-3226-4873-A599-0FE1608CAE58}" dt="2024-09-12T08:27:22.666" v="3110" actId="790"/>
          <ac:spMkLst>
            <pc:docMk/>
            <pc:sldMk cId="3511057684" sldId="4116"/>
            <ac:spMk id="7" creationId="{BA7D993F-5C35-4248-8DE1-80438AE5D788}"/>
          </ac:spMkLst>
        </pc:spChg>
        <pc:spChg chg="mod">
          <ac:chgData name="Hafiz Muhammad Salman" userId="47f5b1ff-37b9-4dd0-a37a-3bc5aec52fa1" providerId="ADAL" clId="{1D0D03E3-3226-4873-A599-0FE1608CAE58}" dt="2024-09-12T08:27:22.661" v="3106" actId="790"/>
          <ac:spMkLst>
            <pc:docMk/>
            <pc:sldMk cId="3511057684" sldId="4116"/>
            <ac:spMk id="11" creationId="{42A1F356-6B8C-D74D-9464-896DE8B7CE2B}"/>
          </ac:spMkLst>
        </pc:spChg>
        <pc:spChg chg="mod">
          <ac:chgData name="Hafiz Muhammad Salman" userId="47f5b1ff-37b9-4dd0-a37a-3bc5aec52fa1" providerId="ADAL" clId="{1D0D03E3-3226-4873-A599-0FE1608CAE58}" dt="2024-09-12T08:27:22.656" v="3102" actId="790"/>
          <ac:spMkLst>
            <pc:docMk/>
            <pc:sldMk cId="3511057684" sldId="4116"/>
            <ac:spMk id="13" creationId="{AD275E29-DC85-D14C-B1FC-622F1767C0A1}"/>
          </ac:spMkLst>
        </pc:spChg>
        <pc:spChg chg="mod">
          <ac:chgData name="Hafiz Muhammad Salman" userId="47f5b1ff-37b9-4dd0-a37a-3bc5aec52fa1" providerId="ADAL" clId="{1D0D03E3-3226-4873-A599-0FE1608CAE58}" dt="2024-09-12T08:27:22.651" v="3098" actId="790"/>
          <ac:spMkLst>
            <pc:docMk/>
            <pc:sldMk cId="3511057684" sldId="4116"/>
            <ac:spMk id="15" creationId="{3D8569B0-4119-BF42-B7EA-CFED2DE56BBD}"/>
          </ac:spMkLst>
        </pc:spChg>
        <pc:spChg chg="del mod">
          <ac:chgData name="Hafiz Muhammad Salman" userId="47f5b1ff-37b9-4dd0-a37a-3bc5aec52fa1" providerId="ADAL" clId="{1D0D03E3-3226-4873-A599-0FE1608CAE58}" dt="2024-09-12T08:28:05.994" v="3172"/>
          <ac:spMkLst>
            <pc:docMk/>
            <pc:sldMk cId="3511057684" sldId="4116"/>
            <ac:spMk id="35" creationId="{8B8D9D7D-875B-754F-8221-ACA5E469F4A1}"/>
          </ac:spMkLst>
        </pc:spChg>
        <pc:spChg chg="mod">
          <ac:chgData name="Hafiz Muhammad Salman" userId="47f5b1ff-37b9-4dd0-a37a-3bc5aec52fa1" providerId="ADAL" clId="{1D0D03E3-3226-4873-A599-0FE1608CAE58}" dt="2024-09-12T08:27:22.652" v="3099" actId="790"/>
          <ac:spMkLst>
            <pc:docMk/>
            <pc:sldMk cId="3511057684" sldId="4116"/>
            <ac:spMk id="37" creationId="{6BE1E172-534F-7A4A-9024-2BA62BC71616}"/>
          </ac:spMkLst>
        </pc:spChg>
        <pc:spChg chg="mod">
          <ac:chgData name="Hafiz Muhammad Salman" userId="47f5b1ff-37b9-4dd0-a37a-3bc5aec52fa1" providerId="ADAL" clId="{1D0D03E3-3226-4873-A599-0FE1608CAE58}" dt="2024-09-12T08:27:22.657" v="3103" actId="790"/>
          <ac:spMkLst>
            <pc:docMk/>
            <pc:sldMk cId="3511057684" sldId="4116"/>
            <ac:spMk id="38" creationId="{A427395B-386F-D048-BAB9-F5EE21516B46}"/>
          </ac:spMkLst>
        </pc:spChg>
        <pc:spChg chg="mod">
          <ac:chgData name="Hafiz Muhammad Salman" userId="47f5b1ff-37b9-4dd0-a37a-3bc5aec52fa1" providerId="ADAL" clId="{1D0D03E3-3226-4873-A599-0FE1608CAE58}" dt="2024-09-12T08:27:22.662" v="3107" actId="790"/>
          <ac:spMkLst>
            <pc:docMk/>
            <pc:sldMk cId="3511057684" sldId="4116"/>
            <ac:spMk id="39" creationId="{7883271D-8932-BF44-9295-CCA453BEAB86}"/>
          </ac:spMkLst>
        </pc:spChg>
        <pc:spChg chg="mod">
          <ac:chgData name="Hafiz Muhammad Salman" userId="47f5b1ff-37b9-4dd0-a37a-3bc5aec52fa1" providerId="ADAL" clId="{1D0D03E3-3226-4873-A599-0FE1608CAE58}" dt="2024-09-12T08:27:22.667" v="3111" actId="790"/>
          <ac:spMkLst>
            <pc:docMk/>
            <pc:sldMk cId="3511057684" sldId="4116"/>
            <ac:spMk id="40" creationId="{C739868E-0D46-EB41-9852-9EE266D5E9F6}"/>
          </ac:spMkLst>
        </pc:spChg>
        <pc:spChg chg="mod">
          <ac:chgData name="Hafiz Muhammad Salman" userId="47f5b1ff-37b9-4dd0-a37a-3bc5aec52fa1" providerId="ADAL" clId="{1D0D03E3-3226-4873-A599-0FE1608CAE58}" dt="2024-09-12T08:27:22.648" v="3096" actId="790"/>
          <ac:spMkLst>
            <pc:docMk/>
            <pc:sldMk cId="3511057684" sldId="4116"/>
            <ac:spMk id="41" creationId="{34B43C8F-D1AE-3748-9616-160DBEB0DF96}"/>
          </ac:spMkLst>
        </pc:spChg>
        <pc:spChg chg="mod">
          <ac:chgData name="Hafiz Muhammad Salman" userId="47f5b1ff-37b9-4dd0-a37a-3bc5aec52fa1" providerId="ADAL" clId="{1D0D03E3-3226-4873-A599-0FE1608CAE58}" dt="2024-09-12T08:27:22.650" v="3097" actId="790"/>
          <ac:spMkLst>
            <pc:docMk/>
            <pc:sldMk cId="3511057684" sldId="4116"/>
            <ac:spMk id="42" creationId="{98708FCB-0D3D-814E-9BE4-427812727EBC}"/>
          </ac:spMkLst>
        </pc:spChg>
        <pc:spChg chg="mod">
          <ac:chgData name="Hafiz Muhammad Salman" userId="47f5b1ff-37b9-4dd0-a37a-3bc5aec52fa1" providerId="ADAL" clId="{1D0D03E3-3226-4873-A599-0FE1608CAE58}" dt="2024-09-12T08:27:22.654" v="3100" actId="790"/>
          <ac:spMkLst>
            <pc:docMk/>
            <pc:sldMk cId="3511057684" sldId="4116"/>
            <ac:spMk id="45" creationId="{4115FF29-B3F0-5244-B11C-F3406BBB9ED1}"/>
          </ac:spMkLst>
        </pc:spChg>
        <pc:spChg chg="mod">
          <ac:chgData name="Hafiz Muhammad Salman" userId="47f5b1ff-37b9-4dd0-a37a-3bc5aec52fa1" providerId="ADAL" clId="{1D0D03E3-3226-4873-A599-0FE1608CAE58}" dt="2024-09-12T08:27:22.655" v="3101" actId="790"/>
          <ac:spMkLst>
            <pc:docMk/>
            <pc:sldMk cId="3511057684" sldId="4116"/>
            <ac:spMk id="46" creationId="{3D355E0C-AA42-CD46-AB81-9B73323A16BA}"/>
          </ac:spMkLst>
        </pc:spChg>
        <pc:spChg chg="mod">
          <ac:chgData name="Hafiz Muhammad Salman" userId="47f5b1ff-37b9-4dd0-a37a-3bc5aec52fa1" providerId="ADAL" clId="{1D0D03E3-3226-4873-A599-0FE1608CAE58}" dt="2024-09-12T08:27:22.659" v="3104" actId="790"/>
          <ac:spMkLst>
            <pc:docMk/>
            <pc:sldMk cId="3511057684" sldId="4116"/>
            <ac:spMk id="49" creationId="{059E838B-BE0C-A045-9C0C-5C49B6ED3104}"/>
          </ac:spMkLst>
        </pc:spChg>
        <pc:spChg chg="mod">
          <ac:chgData name="Hafiz Muhammad Salman" userId="47f5b1ff-37b9-4dd0-a37a-3bc5aec52fa1" providerId="ADAL" clId="{1D0D03E3-3226-4873-A599-0FE1608CAE58}" dt="2024-09-12T08:27:22.660" v="3105" actId="790"/>
          <ac:spMkLst>
            <pc:docMk/>
            <pc:sldMk cId="3511057684" sldId="4116"/>
            <ac:spMk id="50" creationId="{DEEEDB8E-CE74-9A49-AE24-78A47253F849}"/>
          </ac:spMkLst>
        </pc:spChg>
        <pc:spChg chg="mod">
          <ac:chgData name="Hafiz Muhammad Salman" userId="47f5b1ff-37b9-4dd0-a37a-3bc5aec52fa1" providerId="ADAL" clId="{1D0D03E3-3226-4873-A599-0FE1608CAE58}" dt="2024-09-12T08:27:22.664" v="3108" actId="790"/>
          <ac:spMkLst>
            <pc:docMk/>
            <pc:sldMk cId="3511057684" sldId="4116"/>
            <ac:spMk id="52" creationId="{19AD4C44-94D9-794B-BF3B-2B2C664CD7CB}"/>
          </ac:spMkLst>
        </pc:spChg>
        <pc:spChg chg="mod">
          <ac:chgData name="Hafiz Muhammad Salman" userId="47f5b1ff-37b9-4dd0-a37a-3bc5aec52fa1" providerId="ADAL" clId="{1D0D03E3-3226-4873-A599-0FE1608CAE58}" dt="2024-09-12T08:27:22.665" v="3109" actId="790"/>
          <ac:spMkLst>
            <pc:docMk/>
            <pc:sldMk cId="3511057684" sldId="4116"/>
            <ac:spMk id="53" creationId="{D42E3187-CA71-E74C-A012-B3F013E9B098}"/>
          </ac:spMkLst>
        </pc:spChg>
        <pc:spChg chg="mod">
          <ac:chgData name="Hafiz Muhammad Salman" userId="47f5b1ff-37b9-4dd0-a37a-3bc5aec52fa1" providerId="ADAL" clId="{1D0D03E3-3226-4873-A599-0FE1608CAE58}" dt="2024-09-12T08:27:22.670" v="3112" actId="790"/>
          <ac:spMkLst>
            <pc:docMk/>
            <pc:sldMk cId="3511057684" sldId="4116"/>
            <ac:spMk id="55" creationId="{B9B033CE-502A-4943-872B-D8A09D0DD883}"/>
          </ac:spMkLst>
        </pc:spChg>
        <pc:spChg chg="mod">
          <ac:chgData name="Hafiz Muhammad Salman" userId="47f5b1ff-37b9-4dd0-a37a-3bc5aec52fa1" providerId="ADAL" clId="{1D0D03E3-3226-4873-A599-0FE1608CAE58}" dt="2024-09-12T08:27:22.672" v="3113" actId="790"/>
          <ac:spMkLst>
            <pc:docMk/>
            <pc:sldMk cId="3511057684" sldId="4116"/>
            <ac:spMk id="56" creationId="{7ECE4077-00FF-CA48-8225-7A4826582BBA}"/>
          </ac:spMkLst>
        </pc:spChg>
      </pc:sldChg>
      <pc:sldChg chg="modSp del mod">
        <pc:chgData name="Hafiz Muhammad Salman" userId="47f5b1ff-37b9-4dd0-a37a-3bc5aec52fa1" providerId="ADAL" clId="{1D0D03E3-3226-4873-A599-0FE1608CAE58}" dt="2024-09-12T10:02:00.601" v="3957" actId="47"/>
        <pc:sldMkLst>
          <pc:docMk/>
          <pc:sldMk cId="2669317212" sldId="4117"/>
        </pc:sldMkLst>
        <pc:spChg chg="mod">
          <ac:chgData name="Hafiz Muhammad Salman" userId="47f5b1ff-37b9-4dd0-a37a-3bc5aec52fa1" providerId="ADAL" clId="{1D0D03E3-3226-4873-A599-0FE1608CAE58}" dt="2024-09-12T08:27:23.175" v="3114" actId="790"/>
          <ac:spMkLst>
            <pc:docMk/>
            <pc:sldMk cId="2669317212" sldId="4117"/>
            <ac:spMk id="4" creationId="{EB21CD83-51EC-F248-B670-479E532836A7}"/>
          </ac:spMkLst>
        </pc:spChg>
        <pc:spChg chg="mod">
          <ac:chgData name="Hafiz Muhammad Salman" userId="47f5b1ff-37b9-4dd0-a37a-3bc5aec52fa1" providerId="ADAL" clId="{1D0D03E3-3226-4873-A599-0FE1608CAE58}" dt="2024-09-12T08:27:23.175" v="3115" actId="790"/>
          <ac:spMkLst>
            <pc:docMk/>
            <pc:sldMk cId="2669317212" sldId="4117"/>
            <ac:spMk id="5" creationId="{4CDB1BB5-08FF-D34B-8D6B-EF9201548285}"/>
          </ac:spMkLst>
        </pc:spChg>
        <pc:spChg chg="mod">
          <ac:chgData name="Hafiz Muhammad Salman" userId="47f5b1ff-37b9-4dd0-a37a-3bc5aec52fa1" providerId="ADAL" clId="{1D0D03E3-3226-4873-A599-0FE1608CAE58}" dt="2024-09-12T08:27:23.175" v="3116" actId="790"/>
          <ac:spMkLst>
            <pc:docMk/>
            <pc:sldMk cId="2669317212" sldId="4117"/>
            <ac:spMk id="6" creationId="{AA595FF2-BE2E-434A-A678-6B0608F53C58}"/>
          </ac:spMkLst>
        </pc:spChg>
        <pc:spChg chg="mod">
          <ac:chgData name="Hafiz Muhammad Salman" userId="47f5b1ff-37b9-4dd0-a37a-3bc5aec52fa1" providerId="ADAL" clId="{1D0D03E3-3226-4873-A599-0FE1608CAE58}" dt="2024-09-12T08:27:23.191" v="3117" actId="790"/>
          <ac:spMkLst>
            <pc:docMk/>
            <pc:sldMk cId="2669317212" sldId="4117"/>
            <ac:spMk id="7" creationId="{9D3B83ED-D2DB-6749-A6A1-C9D072DB55B0}"/>
          </ac:spMkLst>
        </pc:spChg>
        <pc:spChg chg="mod">
          <ac:chgData name="Hafiz Muhammad Salman" userId="47f5b1ff-37b9-4dd0-a37a-3bc5aec52fa1" providerId="ADAL" clId="{1D0D03E3-3226-4873-A599-0FE1608CAE58}" dt="2024-09-12T08:27:23.193" v="3118" actId="790"/>
          <ac:spMkLst>
            <pc:docMk/>
            <pc:sldMk cId="2669317212" sldId="4117"/>
            <ac:spMk id="17" creationId="{018D0820-5A46-8048-8254-8942A2FAD7F5}"/>
          </ac:spMkLst>
        </pc:spChg>
        <pc:spChg chg="mod">
          <ac:chgData name="Hafiz Muhammad Salman" userId="47f5b1ff-37b9-4dd0-a37a-3bc5aec52fa1" providerId="ADAL" clId="{1D0D03E3-3226-4873-A599-0FE1608CAE58}" dt="2024-09-12T08:27:23.196" v="3119" actId="790"/>
          <ac:spMkLst>
            <pc:docMk/>
            <pc:sldMk cId="2669317212" sldId="4117"/>
            <ac:spMk id="18" creationId="{846AE080-1924-D040-B2A5-BB190845CB9B}"/>
          </ac:spMkLst>
        </pc:spChg>
        <pc:spChg chg="mod">
          <ac:chgData name="Hafiz Muhammad Salman" userId="47f5b1ff-37b9-4dd0-a37a-3bc5aec52fa1" providerId="ADAL" clId="{1D0D03E3-3226-4873-A599-0FE1608CAE58}" dt="2024-09-12T08:27:23.198" v="3120" actId="790"/>
          <ac:spMkLst>
            <pc:docMk/>
            <pc:sldMk cId="2669317212" sldId="4117"/>
            <ac:spMk id="21" creationId="{38EE066E-AA8E-194E-A622-8F4761A13478}"/>
          </ac:spMkLst>
        </pc:spChg>
        <pc:spChg chg="mod">
          <ac:chgData name="Hafiz Muhammad Salman" userId="47f5b1ff-37b9-4dd0-a37a-3bc5aec52fa1" providerId="ADAL" clId="{1D0D03E3-3226-4873-A599-0FE1608CAE58}" dt="2024-09-12T08:27:23.200" v="3121" actId="790"/>
          <ac:spMkLst>
            <pc:docMk/>
            <pc:sldMk cId="2669317212" sldId="4117"/>
            <ac:spMk id="22" creationId="{F1868082-7AC4-AF46-8AB3-1C771DA392BE}"/>
          </ac:spMkLst>
        </pc:spChg>
        <pc:spChg chg="mod">
          <ac:chgData name="Hafiz Muhammad Salman" userId="47f5b1ff-37b9-4dd0-a37a-3bc5aec52fa1" providerId="ADAL" clId="{1D0D03E3-3226-4873-A599-0FE1608CAE58}" dt="2024-09-12T08:27:23.202" v="3122" actId="790"/>
          <ac:spMkLst>
            <pc:docMk/>
            <pc:sldMk cId="2669317212" sldId="4117"/>
            <ac:spMk id="24" creationId="{6C8BDE81-CC43-E94F-AB5B-8D183D405CA3}"/>
          </ac:spMkLst>
        </pc:spChg>
        <pc:spChg chg="mod">
          <ac:chgData name="Hafiz Muhammad Salman" userId="47f5b1ff-37b9-4dd0-a37a-3bc5aec52fa1" providerId="ADAL" clId="{1D0D03E3-3226-4873-A599-0FE1608CAE58}" dt="2024-09-12T08:27:23.203" v="3123" actId="790"/>
          <ac:spMkLst>
            <pc:docMk/>
            <pc:sldMk cId="2669317212" sldId="4117"/>
            <ac:spMk id="25" creationId="{F90B2BBE-0415-F940-82D0-B19387CE9CCC}"/>
          </ac:spMkLst>
        </pc:spChg>
        <pc:spChg chg="mod">
          <ac:chgData name="Hafiz Muhammad Salman" userId="47f5b1ff-37b9-4dd0-a37a-3bc5aec52fa1" providerId="ADAL" clId="{1D0D03E3-3226-4873-A599-0FE1608CAE58}" dt="2024-09-12T08:27:23.203" v="3124" actId="790"/>
          <ac:spMkLst>
            <pc:docMk/>
            <pc:sldMk cId="2669317212" sldId="4117"/>
            <ac:spMk id="26" creationId="{4D79E633-3AE3-B64D-9C79-4AD089B16331}"/>
          </ac:spMkLst>
        </pc:spChg>
        <pc:spChg chg="mod">
          <ac:chgData name="Hafiz Muhammad Salman" userId="47f5b1ff-37b9-4dd0-a37a-3bc5aec52fa1" providerId="ADAL" clId="{1D0D03E3-3226-4873-A599-0FE1608CAE58}" dt="2024-09-12T08:27:23.203" v="3125" actId="790"/>
          <ac:spMkLst>
            <pc:docMk/>
            <pc:sldMk cId="2669317212" sldId="4117"/>
            <ac:spMk id="27" creationId="{69615DA5-AA25-8B4D-8428-332BF68B3819}"/>
          </ac:spMkLst>
        </pc:spChg>
        <pc:spChg chg="mod">
          <ac:chgData name="Hafiz Muhammad Salman" userId="47f5b1ff-37b9-4dd0-a37a-3bc5aec52fa1" providerId="ADAL" clId="{1D0D03E3-3226-4873-A599-0FE1608CAE58}" dt="2024-09-12T08:27:23.203" v="3126" actId="790"/>
          <ac:spMkLst>
            <pc:docMk/>
            <pc:sldMk cId="2669317212" sldId="4117"/>
            <ac:spMk id="28" creationId="{4B245528-C651-424D-8FC5-3545745D446E}"/>
          </ac:spMkLst>
        </pc:spChg>
      </pc:sldChg>
      <pc:sldChg chg="addSp delSp modSp add mod">
        <pc:chgData name="Hafiz Muhammad Salman" userId="47f5b1ff-37b9-4dd0-a37a-3bc5aec52fa1" providerId="ADAL" clId="{1D0D03E3-3226-4873-A599-0FE1608CAE58}" dt="2024-09-19T08:11:43.394" v="5695" actId="20577"/>
        <pc:sldMkLst>
          <pc:docMk/>
          <pc:sldMk cId="3351761133" sldId="4118"/>
        </pc:sldMkLst>
        <pc:spChg chg="mod">
          <ac:chgData name="Hafiz Muhammad Salman" userId="47f5b1ff-37b9-4dd0-a37a-3bc5aec52fa1" providerId="ADAL" clId="{1D0D03E3-3226-4873-A599-0FE1608CAE58}" dt="2024-09-17T08:13:34.097" v="4735" actId="20577"/>
          <ac:spMkLst>
            <pc:docMk/>
            <pc:sldMk cId="3351761133" sldId="4118"/>
            <ac:spMk id="6" creationId="{31F1F08F-EE9C-554F-A670-1C2EA3FCAD59}"/>
          </ac:spMkLst>
        </pc:spChg>
        <pc:spChg chg="mod">
          <ac:chgData name="Hafiz Muhammad Salman" userId="47f5b1ff-37b9-4dd0-a37a-3bc5aec52fa1" providerId="ADAL" clId="{1D0D03E3-3226-4873-A599-0FE1608CAE58}" dt="2024-09-19T08:11:21.521" v="5661" actId="20577"/>
          <ac:spMkLst>
            <pc:docMk/>
            <pc:sldMk cId="3351761133" sldId="4118"/>
            <ac:spMk id="7" creationId="{27FC62CA-58E7-4443-A500-14D4DABD918F}"/>
          </ac:spMkLst>
        </pc:spChg>
        <pc:spChg chg="mod">
          <ac:chgData name="Hafiz Muhammad Salman" userId="47f5b1ff-37b9-4dd0-a37a-3bc5aec52fa1" providerId="ADAL" clId="{1D0D03E3-3226-4873-A599-0FE1608CAE58}" dt="2024-09-12T09:42:07.445" v="3608" actId="20577"/>
          <ac:spMkLst>
            <pc:docMk/>
            <pc:sldMk cId="3351761133" sldId="4118"/>
            <ac:spMk id="9" creationId="{573B97F7-0095-47D2-94DF-CC0764FDBF0E}"/>
          </ac:spMkLst>
        </pc:spChg>
        <pc:spChg chg="add del mod">
          <ac:chgData name="Hafiz Muhammad Salman" userId="47f5b1ff-37b9-4dd0-a37a-3bc5aec52fa1" providerId="ADAL" clId="{1D0D03E3-3226-4873-A599-0FE1608CAE58}" dt="2024-09-12T09:58:21.815" v="3937" actId="478"/>
          <ac:spMkLst>
            <pc:docMk/>
            <pc:sldMk cId="3351761133" sldId="4118"/>
            <ac:spMk id="12" creationId="{54A52100-0066-6510-DC83-8D6783394053}"/>
          </ac:spMkLst>
        </pc:spChg>
        <pc:spChg chg="add del mod">
          <ac:chgData name="Hafiz Muhammad Salman" userId="47f5b1ff-37b9-4dd0-a37a-3bc5aec52fa1" providerId="ADAL" clId="{1D0D03E3-3226-4873-A599-0FE1608CAE58}" dt="2024-09-12T09:58:29.583" v="3938" actId="478"/>
          <ac:spMkLst>
            <pc:docMk/>
            <pc:sldMk cId="3351761133" sldId="4118"/>
            <ac:spMk id="13" creationId="{D7B74617-2AD0-BF6A-0411-119BBDA700E9}"/>
          </ac:spMkLst>
        </pc:spChg>
        <pc:spChg chg="add del mod">
          <ac:chgData name="Hafiz Muhammad Salman" userId="47f5b1ff-37b9-4dd0-a37a-3bc5aec52fa1" providerId="ADAL" clId="{1D0D03E3-3226-4873-A599-0FE1608CAE58}" dt="2024-09-12T09:58:35.144" v="3941" actId="478"/>
          <ac:spMkLst>
            <pc:docMk/>
            <pc:sldMk cId="3351761133" sldId="4118"/>
            <ac:spMk id="16" creationId="{54E58CD8-F6AC-B384-813C-A8AB06F934BF}"/>
          </ac:spMkLst>
        </pc:spChg>
        <pc:spChg chg="add del mod">
          <ac:chgData name="Hafiz Muhammad Salman" userId="47f5b1ff-37b9-4dd0-a37a-3bc5aec52fa1" providerId="ADAL" clId="{1D0D03E3-3226-4873-A599-0FE1608CAE58}" dt="2024-09-12T09:58:29.583" v="3938" actId="478"/>
          <ac:spMkLst>
            <pc:docMk/>
            <pc:sldMk cId="3351761133" sldId="4118"/>
            <ac:spMk id="18" creationId="{F09EBE90-1A5C-9490-02CB-25D30FAE9A17}"/>
          </ac:spMkLst>
        </pc:spChg>
        <pc:spChg chg="add del mod">
          <ac:chgData name="Hafiz Muhammad Salman" userId="47f5b1ff-37b9-4dd0-a37a-3bc5aec52fa1" providerId="ADAL" clId="{1D0D03E3-3226-4873-A599-0FE1608CAE58}" dt="2024-09-12T09:58:29.583" v="3938" actId="478"/>
          <ac:spMkLst>
            <pc:docMk/>
            <pc:sldMk cId="3351761133" sldId="4118"/>
            <ac:spMk id="19" creationId="{7360B227-A431-BFB2-CE35-0CDB47A866EB}"/>
          </ac:spMkLst>
        </pc:spChg>
        <pc:spChg chg="mod">
          <ac:chgData name="Hafiz Muhammad Salman" userId="47f5b1ff-37b9-4dd0-a37a-3bc5aec52fa1" providerId="ADAL" clId="{1D0D03E3-3226-4873-A599-0FE1608CAE58}" dt="2024-09-18T20:45:17.853" v="5565"/>
          <ac:spMkLst>
            <pc:docMk/>
            <pc:sldMk cId="3351761133" sldId="4118"/>
            <ac:spMk id="20" creationId="{58F09A68-6E53-4C41-AE56-9202A93E3D78}"/>
          </ac:spMkLst>
        </pc:spChg>
        <pc:spChg chg="mod">
          <ac:chgData name="Hafiz Muhammad Salman" userId="47f5b1ff-37b9-4dd0-a37a-3bc5aec52fa1" providerId="ADAL" clId="{1D0D03E3-3226-4873-A599-0FE1608CAE58}" dt="2024-09-18T20:45:26.190" v="5566"/>
          <ac:spMkLst>
            <pc:docMk/>
            <pc:sldMk cId="3351761133" sldId="4118"/>
            <ac:spMk id="21" creationId="{7ED02702-1082-444F-A80B-BC8E4B37F491}"/>
          </ac:spMkLst>
        </pc:spChg>
        <pc:spChg chg="mod">
          <ac:chgData name="Hafiz Muhammad Salman" userId="47f5b1ff-37b9-4dd0-a37a-3bc5aec52fa1" providerId="ADAL" clId="{1D0D03E3-3226-4873-A599-0FE1608CAE58}" dt="2024-09-12T16:11:20.690" v="4242" actId="20577"/>
          <ac:spMkLst>
            <pc:docMk/>
            <pc:sldMk cId="3351761133" sldId="4118"/>
            <ac:spMk id="27" creationId="{FDF1B26C-9A81-FC4C-8AEA-84B8E8147CE3}"/>
          </ac:spMkLst>
        </pc:spChg>
        <pc:spChg chg="mod">
          <ac:chgData name="Hafiz Muhammad Salman" userId="47f5b1ff-37b9-4dd0-a37a-3bc5aec52fa1" providerId="ADAL" clId="{1D0D03E3-3226-4873-A599-0FE1608CAE58}" dt="2024-09-19T08:11:43.394" v="5695" actId="20577"/>
          <ac:spMkLst>
            <pc:docMk/>
            <pc:sldMk cId="3351761133" sldId="4118"/>
            <ac:spMk id="28" creationId="{21C5D0BD-2573-CF45-A0B6-17C9037BC00C}"/>
          </ac:spMkLst>
        </pc:spChg>
        <pc:spChg chg="mod">
          <ac:chgData name="Hafiz Muhammad Salman" userId="47f5b1ff-37b9-4dd0-a37a-3bc5aec52fa1" providerId="ADAL" clId="{1D0D03E3-3226-4873-A599-0FE1608CAE58}" dt="2024-09-16T13:05:07.423" v="4686" actId="207"/>
          <ac:spMkLst>
            <pc:docMk/>
            <pc:sldMk cId="3351761133" sldId="4118"/>
            <ac:spMk id="33" creationId="{1DEAD9EF-75D4-374B-A551-F7A7C45187CD}"/>
          </ac:spMkLst>
        </pc:spChg>
        <pc:spChg chg="mod">
          <ac:chgData name="Hafiz Muhammad Salman" userId="47f5b1ff-37b9-4dd0-a37a-3bc5aec52fa1" providerId="ADAL" clId="{1D0D03E3-3226-4873-A599-0FE1608CAE58}" dt="2024-09-18T20:44:47.926" v="5563"/>
          <ac:spMkLst>
            <pc:docMk/>
            <pc:sldMk cId="3351761133" sldId="4118"/>
            <ac:spMk id="34" creationId="{CC73FA0D-EAFB-E24D-AFB3-B286488E42B2}"/>
          </ac:spMkLst>
        </pc:spChg>
        <pc:spChg chg="mod">
          <ac:chgData name="Hafiz Muhammad Salman" userId="47f5b1ff-37b9-4dd0-a37a-3bc5aec52fa1" providerId="ADAL" clId="{1D0D03E3-3226-4873-A599-0FE1608CAE58}" dt="2024-09-19T08:10:39.003" v="5653" actId="20577"/>
          <ac:spMkLst>
            <pc:docMk/>
            <pc:sldMk cId="3351761133" sldId="4118"/>
            <ac:spMk id="35" creationId="{03299D72-7701-7045-9737-06E3AF0049FB}"/>
          </ac:spMkLst>
        </pc:spChg>
        <pc:spChg chg="mod">
          <ac:chgData name="Hafiz Muhammad Salman" userId="47f5b1ff-37b9-4dd0-a37a-3bc5aec52fa1" providerId="ADAL" clId="{1D0D03E3-3226-4873-A599-0FE1608CAE58}" dt="2024-09-12T09:57:55.485" v="3936" actId="20577"/>
          <ac:spMkLst>
            <pc:docMk/>
            <pc:sldMk cId="3351761133" sldId="4118"/>
            <ac:spMk id="41" creationId="{4E65C334-044B-5C48-809E-E15548D5C6AA}"/>
          </ac:spMkLst>
        </pc:spChg>
        <pc:spChg chg="mod">
          <ac:chgData name="Hafiz Muhammad Salman" userId="47f5b1ff-37b9-4dd0-a37a-3bc5aec52fa1" providerId="ADAL" clId="{1D0D03E3-3226-4873-A599-0FE1608CAE58}" dt="2024-09-12T09:51:05.314" v="3898"/>
          <ac:spMkLst>
            <pc:docMk/>
            <pc:sldMk cId="3351761133" sldId="4118"/>
            <ac:spMk id="42" creationId="{E7218CCE-EB64-CD4A-A42A-71ABD036948B}"/>
          </ac:spMkLst>
        </pc:spChg>
        <pc:picChg chg="del">
          <ac:chgData name="Hafiz Muhammad Salman" userId="47f5b1ff-37b9-4dd0-a37a-3bc5aec52fa1" providerId="ADAL" clId="{1D0D03E3-3226-4873-A599-0FE1608CAE58}" dt="2024-09-12T09:43:57.734" v="3625" actId="478"/>
          <ac:picMkLst>
            <pc:docMk/>
            <pc:sldMk cId="3351761133" sldId="4118"/>
            <ac:picMk id="2" creationId="{91DADFFE-024E-49C6-4861-BE9BCD534795}"/>
          </ac:picMkLst>
        </pc:picChg>
        <pc:picChg chg="add mod">
          <ac:chgData name="Hafiz Muhammad Salman" userId="47f5b1ff-37b9-4dd0-a37a-3bc5aec52fa1" providerId="ADAL" clId="{1D0D03E3-3226-4873-A599-0FE1608CAE58}" dt="2024-09-12T09:45:38.041" v="3737" actId="1038"/>
          <ac:picMkLst>
            <pc:docMk/>
            <pc:sldMk cId="3351761133" sldId="4118"/>
            <ac:picMk id="3" creationId="{4897B630-EC56-0BE1-D70F-53A51BD62F7B}"/>
          </ac:picMkLst>
        </pc:picChg>
        <pc:picChg chg="add mod">
          <ac:chgData name="Hafiz Muhammad Salman" userId="47f5b1ff-37b9-4dd0-a37a-3bc5aec52fa1" providerId="ADAL" clId="{1D0D03E3-3226-4873-A599-0FE1608CAE58}" dt="2024-09-12T09:59:04.982" v="3949" actId="14100"/>
          <ac:picMkLst>
            <pc:docMk/>
            <pc:sldMk cId="3351761133" sldId="4118"/>
            <ac:picMk id="22" creationId="{A974478F-226C-404A-E01C-A41B5E7DC835}"/>
          </ac:picMkLst>
        </pc:picChg>
      </pc:sldChg>
      <pc:sldChg chg="modSp del mod">
        <pc:chgData name="Hafiz Muhammad Salman" userId="47f5b1ff-37b9-4dd0-a37a-3bc5aec52fa1" providerId="ADAL" clId="{1D0D03E3-3226-4873-A599-0FE1608CAE58}" dt="2024-09-12T10:01:20.456" v="3955" actId="47"/>
        <pc:sldMkLst>
          <pc:docMk/>
          <pc:sldMk cId="446900980" sldId="4119"/>
        </pc:sldMkLst>
        <pc:spChg chg="mod">
          <ac:chgData name="Hafiz Muhammad Salman" userId="47f5b1ff-37b9-4dd0-a37a-3bc5aec52fa1" providerId="ADAL" clId="{1D0D03E3-3226-4873-A599-0FE1608CAE58}" dt="2024-09-12T09:44:46.197" v="3626" actId="790"/>
          <ac:spMkLst>
            <pc:docMk/>
            <pc:sldMk cId="446900980" sldId="4119"/>
            <ac:spMk id="4" creationId="{70A575A9-DDF8-694D-9D20-C7F2E21BF414}"/>
          </ac:spMkLst>
        </pc:spChg>
        <pc:spChg chg="mod">
          <ac:chgData name="Hafiz Muhammad Salman" userId="47f5b1ff-37b9-4dd0-a37a-3bc5aec52fa1" providerId="ADAL" clId="{1D0D03E3-3226-4873-A599-0FE1608CAE58}" dt="2024-09-12T09:44:46.198" v="3627" actId="790"/>
          <ac:spMkLst>
            <pc:docMk/>
            <pc:sldMk cId="446900980" sldId="4119"/>
            <ac:spMk id="5" creationId="{9193706F-BD69-9A41-A191-0337AD933C49}"/>
          </ac:spMkLst>
        </pc:spChg>
        <pc:spChg chg="mod">
          <ac:chgData name="Hafiz Muhammad Salman" userId="47f5b1ff-37b9-4dd0-a37a-3bc5aec52fa1" providerId="ADAL" clId="{1D0D03E3-3226-4873-A599-0FE1608CAE58}" dt="2024-09-12T09:44:46.199" v="3628" actId="790"/>
          <ac:spMkLst>
            <pc:docMk/>
            <pc:sldMk cId="446900980" sldId="4119"/>
            <ac:spMk id="6" creationId="{31F1F08F-EE9C-554F-A670-1C2EA3FCAD59}"/>
          </ac:spMkLst>
        </pc:spChg>
        <pc:spChg chg="mod">
          <ac:chgData name="Hafiz Muhammad Salman" userId="47f5b1ff-37b9-4dd0-a37a-3bc5aec52fa1" providerId="ADAL" clId="{1D0D03E3-3226-4873-A599-0FE1608CAE58}" dt="2024-09-12T09:44:46.200" v="3629" actId="790"/>
          <ac:spMkLst>
            <pc:docMk/>
            <pc:sldMk cId="446900980" sldId="4119"/>
            <ac:spMk id="7" creationId="{27FC62CA-58E7-4443-A500-14D4DABD918F}"/>
          </ac:spMkLst>
        </pc:spChg>
        <pc:spChg chg="mod">
          <ac:chgData name="Hafiz Muhammad Salman" userId="47f5b1ff-37b9-4dd0-a37a-3bc5aec52fa1" providerId="ADAL" clId="{1D0D03E3-3226-4873-A599-0FE1608CAE58}" dt="2024-09-12T09:44:46.201" v="3630" actId="790"/>
          <ac:spMkLst>
            <pc:docMk/>
            <pc:sldMk cId="446900980" sldId="4119"/>
            <ac:spMk id="8" creationId="{988146A1-9CBF-CB4A-8D60-552C8C87F6BF}"/>
          </ac:spMkLst>
        </pc:spChg>
        <pc:spChg chg="mod">
          <ac:chgData name="Hafiz Muhammad Salman" userId="47f5b1ff-37b9-4dd0-a37a-3bc5aec52fa1" providerId="ADAL" clId="{1D0D03E3-3226-4873-A599-0FE1608CAE58}" dt="2024-09-12T09:44:46.202" v="3631" actId="790"/>
          <ac:spMkLst>
            <pc:docMk/>
            <pc:sldMk cId="446900980" sldId="4119"/>
            <ac:spMk id="14" creationId="{5D12FDF8-4B39-3344-A782-1E5B5D614200}"/>
          </ac:spMkLst>
        </pc:spChg>
        <pc:spChg chg="mod">
          <ac:chgData name="Hafiz Muhammad Salman" userId="47f5b1ff-37b9-4dd0-a37a-3bc5aec52fa1" providerId="ADAL" clId="{1D0D03E3-3226-4873-A599-0FE1608CAE58}" dt="2024-09-12T09:44:46.203" v="3632" actId="790"/>
          <ac:spMkLst>
            <pc:docMk/>
            <pc:sldMk cId="446900980" sldId="4119"/>
            <ac:spMk id="15" creationId="{07E02D11-C608-ED45-8792-4410CE1E1214}"/>
          </ac:spMkLst>
        </pc:spChg>
        <pc:spChg chg="mod">
          <ac:chgData name="Hafiz Muhammad Salman" userId="47f5b1ff-37b9-4dd0-a37a-3bc5aec52fa1" providerId="ADAL" clId="{1D0D03E3-3226-4873-A599-0FE1608CAE58}" dt="2024-09-12T09:44:46.209" v="3635" actId="790"/>
          <ac:spMkLst>
            <pc:docMk/>
            <pc:sldMk cId="446900980" sldId="4119"/>
            <ac:spMk id="17" creationId="{086933A3-07FB-5046-BE63-855E29EDE268}"/>
          </ac:spMkLst>
        </pc:spChg>
        <pc:spChg chg="mod">
          <ac:chgData name="Hafiz Muhammad Salman" userId="47f5b1ff-37b9-4dd0-a37a-3bc5aec52fa1" providerId="ADAL" clId="{1D0D03E3-3226-4873-A599-0FE1608CAE58}" dt="2024-09-12T09:44:46.204" v="3633" actId="790"/>
          <ac:spMkLst>
            <pc:docMk/>
            <pc:sldMk cId="446900980" sldId="4119"/>
            <ac:spMk id="20" creationId="{58F09A68-6E53-4C41-AE56-9202A93E3D78}"/>
          </ac:spMkLst>
        </pc:spChg>
        <pc:spChg chg="mod">
          <ac:chgData name="Hafiz Muhammad Salman" userId="47f5b1ff-37b9-4dd0-a37a-3bc5aec52fa1" providerId="ADAL" clId="{1D0D03E3-3226-4873-A599-0FE1608CAE58}" dt="2024-09-12T09:44:46.206" v="3634" actId="790"/>
          <ac:spMkLst>
            <pc:docMk/>
            <pc:sldMk cId="446900980" sldId="4119"/>
            <ac:spMk id="21" creationId="{7ED02702-1082-444F-A80B-BC8E4B37F491}"/>
          </ac:spMkLst>
        </pc:spChg>
        <pc:spChg chg="mod">
          <ac:chgData name="Hafiz Muhammad Salman" userId="47f5b1ff-37b9-4dd0-a37a-3bc5aec52fa1" providerId="ADAL" clId="{1D0D03E3-3226-4873-A599-0FE1608CAE58}" dt="2024-09-12T09:44:46.210" v="3636" actId="790"/>
          <ac:spMkLst>
            <pc:docMk/>
            <pc:sldMk cId="446900980" sldId="4119"/>
            <ac:spMk id="23" creationId="{372B6B84-50B9-274F-81BC-B0D4CA47BF79}"/>
          </ac:spMkLst>
        </pc:spChg>
        <pc:spChg chg="mod">
          <ac:chgData name="Hafiz Muhammad Salman" userId="47f5b1ff-37b9-4dd0-a37a-3bc5aec52fa1" providerId="ADAL" clId="{1D0D03E3-3226-4873-A599-0FE1608CAE58}" dt="2024-09-12T09:44:46.212" v="3637" actId="790"/>
          <ac:spMkLst>
            <pc:docMk/>
            <pc:sldMk cId="446900980" sldId="4119"/>
            <ac:spMk id="24" creationId="{081A76C2-4329-014C-B517-93C49068FE6E}"/>
          </ac:spMkLst>
        </pc:spChg>
        <pc:spChg chg="mod">
          <ac:chgData name="Hafiz Muhammad Salman" userId="47f5b1ff-37b9-4dd0-a37a-3bc5aec52fa1" providerId="ADAL" clId="{1D0D03E3-3226-4873-A599-0FE1608CAE58}" dt="2024-09-12T09:44:46.216" v="3640" actId="790"/>
          <ac:spMkLst>
            <pc:docMk/>
            <pc:sldMk cId="446900980" sldId="4119"/>
            <ac:spMk id="26" creationId="{2F943FDD-EC8C-194D-8618-7FC551759E72}"/>
          </ac:spMkLst>
        </pc:spChg>
        <pc:spChg chg="mod">
          <ac:chgData name="Hafiz Muhammad Salman" userId="47f5b1ff-37b9-4dd0-a37a-3bc5aec52fa1" providerId="ADAL" clId="{1D0D03E3-3226-4873-A599-0FE1608CAE58}" dt="2024-09-12T09:44:46.213" v="3638" actId="790"/>
          <ac:spMkLst>
            <pc:docMk/>
            <pc:sldMk cId="446900980" sldId="4119"/>
            <ac:spMk id="27" creationId="{FDF1B26C-9A81-FC4C-8AEA-84B8E8147CE3}"/>
          </ac:spMkLst>
        </pc:spChg>
        <pc:spChg chg="mod">
          <ac:chgData name="Hafiz Muhammad Salman" userId="47f5b1ff-37b9-4dd0-a37a-3bc5aec52fa1" providerId="ADAL" clId="{1D0D03E3-3226-4873-A599-0FE1608CAE58}" dt="2024-09-12T09:44:46.215" v="3639" actId="790"/>
          <ac:spMkLst>
            <pc:docMk/>
            <pc:sldMk cId="446900980" sldId="4119"/>
            <ac:spMk id="28" creationId="{21C5D0BD-2573-CF45-A0B6-17C9037BC00C}"/>
          </ac:spMkLst>
        </pc:spChg>
        <pc:spChg chg="mod">
          <ac:chgData name="Hafiz Muhammad Salman" userId="47f5b1ff-37b9-4dd0-a37a-3bc5aec52fa1" providerId="ADAL" clId="{1D0D03E3-3226-4873-A599-0FE1608CAE58}" dt="2024-09-12T09:44:46.217" v="3641" actId="790"/>
          <ac:spMkLst>
            <pc:docMk/>
            <pc:sldMk cId="446900980" sldId="4119"/>
            <ac:spMk id="30" creationId="{BE75CD65-A8C6-3641-9952-E18C39EB9EBB}"/>
          </ac:spMkLst>
        </pc:spChg>
        <pc:spChg chg="mod">
          <ac:chgData name="Hafiz Muhammad Salman" userId="47f5b1ff-37b9-4dd0-a37a-3bc5aec52fa1" providerId="ADAL" clId="{1D0D03E3-3226-4873-A599-0FE1608CAE58}" dt="2024-09-12T09:44:46.217" v="3642" actId="790"/>
          <ac:spMkLst>
            <pc:docMk/>
            <pc:sldMk cId="446900980" sldId="4119"/>
            <ac:spMk id="31" creationId="{1255B249-9849-E74A-948D-EC66D814ABEE}"/>
          </ac:spMkLst>
        </pc:spChg>
        <pc:spChg chg="mod">
          <ac:chgData name="Hafiz Muhammad Salman" userId="47f5b1ff-37b9-4dd0-a37a-3bc5aec52fa1" providerId="ADAL" clId="{1D0D03E3-3226-4873-A599-0FE1608CAE58}" dt="2024-09-12T09:44:46.220" v="3645" actId="790"/>
          <ac:spMkLst>
            <pc:docMk/>
            <pc:sldMk cId="446900980" sldId="4119"/>
            <ac:spMk id="33" creationId="{1DEAD9EF-75D4-374B-A551-F7A7C45187CD}"/>
          </ac:spMkLst>
        </pc:spChg>
        <pc:spChg chg="mod">
          <ac:chgData name="Hafiz Muhammad Salman" userId="47f5b1ff-37b9-4dd0-a37a-3bc5aec52fa1" providerId="ADAL" clId="{1D0D03E3-3226-4873-A599-0FE1608CAE58}" dt="2024-09-12T09:44:46.218" v="3643" actId="790"/>
          <ac:spMkLst>
            <pc:docMk/>
            <pc:sldMk cId="446900980" sldId="4119"/>
            <ac:spMk id="34" creationId="{CC73FA0D-EAFB-E24D-AFB3-B286488E42B2}"/>
          </ac:spMkLst>
        </pc:spChg>
        <pc:spChg chg="mod">
          <ac:chgData name="Hafiz Muhammad Salman" userId="47f5b1ff-37b9-4dd0-a37a-3bc5aec52fa1" providerId="ADAL" clId="{1D0D03E3-3226-4873-A599-0FE1608CAE58}" dt="2024-09-12T09:44:46.219" v="3644" actId="790"/>
          <ac:spMkLst>
            <pc:docMk/>
            <pc:sldMk cId="446900980" sldId="4119"/>
            <ac:spMk id="35" creationId="{03299D72-7701-7045-9737-06E3AF0049FB}"/>
          </ac:spMkLst>
        </pc:spChg>
        <pc:spChg chg="mod">
          <ac:chgData name="Hafiz Muhammad Salman" userId="47f5b1ff-37b9-4dd0-a37a-3bc5aec52fa1" providerId="ADAL" clId="{1D0D03E3-3226-4873-A599-0FE1608CAE58}" dt="2024-09-12T09:44:46.222" v="3646" actId="790"/>
          <ac:spMkLst>
            <pc:docMk/>
            <pc:sldMk cId="446900980" sldId="4119"/>
            <ac:spMk id="37" creationId="{BD56DF10-ACD5-984F-828A-02B14A17356C}"/>
          </ac:spMkLst>
        </pc:spChg>
        <pc:spChg chg="mod">
          <ac:chgData name="Hafiz Muhammad Salman" userId="47f5b1ff-37b9-4dd0-a37a-3bc5aec52fa1" providerId="ADAL" clId="{1D0D03E3-3226-4873-A599-0FE1608CAE58}" dt="2024-09-12T09:44:46.223" v="3647" actId="790"/>
          <ac:spMkLst>
            <pc:docMk/>
            <pc:sldMk cId="446900980" sldId="4119"/>
            <ac:spMk id="38" creationId="{6DA34CD6-DBDF-9E46-9284-5CFB876B07F6}"/>
          </ac:spMkLst>
        </pc:spChg>
        <pc:spChg chg="mod">
          <ac:chgData name="Hafiz Muhammad Salman" userId="47f5b1ff-37b9-4dd0-a37a-3bc5aec52fa1" providerId="ADAL" clId="{1D0D03E3-3226-4873-A599-0FE1608CAE58}" dt="2024-09-12T09:44:46.226" v="3650" actId="790"/>
          <ac:spMkLst>
            <pc:docMk/>
            <pc:sldMk cId="446900980" sldId="4119"/>
            <ac:spMk id="40" creationId="{00C7CC85-7D0F-C343-A5DB-346E5328B0EB}"/>
          </ac:spMkLst>
        </pc:spChg>
        <pc:spChg chg="mod">
          <ac:chgData name="Hafiz Muhammad Salman" userId="47f5b1ff-37b9-4dd0-a37a-3bc5aec52fa1" providerId="ADAL" clId="{1D0D03E3-3226-4873-A599-0FE1608CAE58}" dt="2024-09-12T09:44:46.224" v="3648" actId="790"/>
          <ac:spMkLst>
            <pc:docMk/>
            <pc:sldMk cId="446900980" sldId="4119"/>
            <ac:spMk id="41" creationId="{4E65C334-044B-5C48-809E-E15548D5C6AA}"/>
          </ac:spMkLst>
        </pc:spChg>
        <pc:spChg chg="mod">
          <ac:chgData name="Hafiz Muhammad Salman" userId="47f5b1ff-37b9-4dd0-a37a-3bc5aec52fa1" providerId="ADAL" clId="{1D0D03E3-3226-4873-A599-0FE1608CAE58}" dt="2024-09-12T09:44:46.225" v="3649" actId="790"/>
          <ac:spMkLst>
            <pc:docMk/>
            <pc:sldMk cId="446900980" sldId="4119"/>
            <ac:spMk id="42" creationId="{E7218CCE-EB64-CD4A-A42A-71ABD036948B}"/>
          </ac:spMkLst>
        </pc:spChg>
        <pc:spChg chg="mod">
          <ac:chgData name="Hafiz Muhammad Salman" userId="47f5b1ff-37b9-4dd0-a37a-3bc5aec52fa1" providerId="ADAL" clId="{1D0D03E3-3226-4873-A599-0FE1608CAE58}" dt="2024-09-12T09:44:46.227" v="3651" actId="790"/>
          <ac:spMkLst>
            <pc:docMk/>
            <pc:sldMk cId="446900980" sldId="4119"/>
            <ac:spMk id="44" creationId="{121EBA7F-E479-704F-BD38-994A31251133}"/>
          </ac:spMkLst>
        </pc:spChg>
        <pc:spChg chg="mod">
          <ac:chgData name="Hafiz Muhammad Salman" userId="47f5b1ff-37b9-4dd0-a37a-3bc5aec52fa1" providerId="ADAL" clId="{1D0D03E3-3226-4873-A599-0FE1608CAE58}" dt="2024-09-12T09:44:46.229" v="3652" actId="790"/>
          <ac:spMkLst>
            <pc:docMk/>
            <pc:sldMk cId="446900980" sldId="4119"/>
            <ac:spMk id="45" creationId="{A44E16F7-A325-C346-BA3F-C0E6FDF9C5A0}"/>
          </ac:spMkLst>
        </pc:spChg>
        <pc:spChg chg="mod">
          <ac:chgData name="Hafiz Muhammad Salman" userId="47f5b1ff-37b9-4dd0-a37a-3bc5aec52fa1" providerId="ADAL" clId="{1D0D03E3-3226-4873-A599-0FE1608CAE58}" dt="2024-09-12T09:44:46.232" v="3655" actId="790"/>
          <ac:spMkLst>
            <pc:docMk/>
            <pc:sldMk cId="446900980" sldId="4119"/>
            <ac:spMk id="47" creationId="{4685923A-FCD6-DB4B-B509-89347DD6C89D}"/>
          </ac:spMkLst>
        </pc:spChg>
        <pc:spChg chg="mod">
          <ac:chgData name="Hafiz Muhammad Salman" userId="47f5b1ff-37b9-4dd0-a37a-3bc5aec52fa1" providerId="ADAL" clId="{1D0D03E3-3226-4873-A599-0FE1608CAE58}" dt="2024-09-12T09:44:46.229" v="3653" actId="790"/>
          <ac:spMkLst>
            <pc:docMk/>
            <pc:sldMk cId="446900980" sldId="4119"/>
            <ac:spMk id="48" creationId="{73A744CA-653E-2C4C-8246-4F12FAC5D7C7}"/>
          </ac:spMkLst>
        </pc:spChg>
        <pc:spChg chg="mod">
          <ac:chgData name="Hafiz Muhammad Salman" userId="47f5b1ff-37b9-4dd0-a37a-3bc5aec52fa1" providerId="ADAL" clId="{1D0D03E3-3226-4873-A599-0FE1608CAE58}" dt="2024-09-12T09:44:46.231" v="3654" actId="790"/>
          <ac:spMkLst>
            <pc:docMk/>
            <pc:sldMk cId="446900980" sldId="4119"/>
            <ac:spMk id="49" creationId="{0259EBD7-1490-2C49-BC6F-45E4F65F8E6B}"/>
          </ac:spMkLst>
        </pc:spChg>
      </pc:sldChg>
      <pc:sldChg chg="modSp del mod">
        <pc:chgData name="Hafiz Muhammad Salman" userId="47f5b1ff-37b9-4dd0-a37a-3bc5aec52fa1" providerId="ADAL" clId="{1D0D03E3-3226-4873-A599-0FE1608CAE58}" dt="2024-09-12T14:48:25.901" v="4208" actId="47"/>
        <pc:sldMkLst>
          <pc:docMk/>
          <pc:sldMk cId="1740556786" sldId="4119"/>
        </pc:sldMkLst>
        <pc:spChg chg="mod">
          <ac:chgData name="Hafiz Muhammad Salman" userId="47f5b1ff-37b9-4dd0-a37a-3bc5aec52fa1" providerId="ADAL" clId="{1D0D03E3-3226-4873-A599-0FE1608CAE58}" dt="2024-09-12T14:37:47.890" v="4068" actId="790"/>
          <ac:spMkLst>
            <pc:docMk/>
            <pc:sldMk cId="1740556786" sldId="4119"/>
            <ac:spMk id="2" creationId="{6076B468-3628-A34E-8D62-2526308D830B}"/>
          </ac:spMkLst>
        </pc:spChg>
        <pc:spChg chg="mod">
          <ac:chgData name="Hafiz Muhammad Salman" userId="47f5b1ff-37b9-4dd0-a37a-3bc5aec52fa1" providerId="ADAL" clId="{1D0D03E3-3226-4873-A599-0FE1608CAE58}" dt="2024-09-12T14:37:47.894" v="4072" actId="790"/>
          <ac:spMkLst>
            <pc:docMk/>
            <pc:sldMk cId="1740556786" sldId="4119"/>
            <ac:spMk id="3" creationId="{79416472-0357-E949-B0E3-9E67C4E1A8B3}"/>
          </ac:spMkLst>
        </pc:spChg>
        <pc:spChg chg="mod">
          <ac:chgData name="Hafiz Muhammad Salman" userId="47f5b1ff-37b9-4dd0-a37a-3bc5aec52fa1" providerId="ADAL" clId="{1D0D03E3-3226-4873-A599-0FE1608CAE58}" dt="2024-09-12T14:37:47.896" v="4076" actId="790"/>
          <ac:spMkLst>
            <pc:docMk/>
            <pc:sldMk cId="1740556786" sldId="4119"/>
            <ac:spMk id="4" creationId="{30A562BB-3F24-AD4E-A1B6-B0B546F222FB}"/>
          </ac:spMkLst>
        </pc:spChg>
        <pc:spChg chg="mod">
          <ac:chgData name="Hafiz Muhammad Salman" userId="47f5b1ff-37b9-4dd0-a37a-3bc5aec52fa1" providerId="ADAL" clId="{1D0D03E3-3226-4873-A599-0FE1608CAE58}" dt="2024-09-12T14:37:47.884" v="4064" actId="790"/>
          <ac:spMkLst>
            <pc:docMk/>
            <pc:sldMk cId="1740556786" sldId="4119"/>
            <ac:spMk id="5" creationId="{90051B68-682F-A042-81FC-EB1F2336F9F3}"/>
          </ac:spMkLst>
        </pc:spChg>
        <pc:spChg chg="mod">
          <ac:chgData name="Hafiz Muhammad Salman" userId="47f5b1ff-37b9-4dd0-a37a-3bc5aec52fa1" providerId="ADAL" clId="{1D0D03E3-3226-4873-A599-0FE1608CAE58}" dt="2024-09-12T14:37:47.885" v="4065" actId="790"/>
          <ac:spMkLst>
            <pc:docMk/>
            <pc:sldMk cId="1740556786" sldId="4119"/>
            <ac:spMk id="9" creationId="{62C0552F-D0EA-F340-A5E3-1E1B23BDFD13}"/>
          </ac:spMkLst>
        </pc:spChg>
        <pc:spChg chg="mod">
          <ac:chgData name="Hafiz Muhammad Salman" userId="47f5b1ff-37b9-4dd0-a37a-3bc5aec52fa1" providerId="ADAL" clId="{1D0D03E3-3226-4873-A599-0FE1608CAE58}" dt="2024-09-12T14:37:47.891" v="4069" actId="790"/>
          <ac:spMkLst>
            <pc:docMk/>
            <pc:sldMk cId="1740556786" sldId="4119"/>
            <ac:spMk id="10" creationId="{06C4BB33-18F5-D14F-9E0A-D78AD10A810D}"/>
          </ac:spMkLst>
        </pc:spChg>
        <pc:spChg chg="mod">
          <ac:chgData name="Hafiz Muhammad Salman" userId="47f5b1ff-37b9-4dd0-a37a-3bc5aec52fa1" providerId="ADAL" clId="{1D0D03E3-3226-4873-A599-0FE1608CAE58}" dt="2024-09-12T14:37:47.894" v="4073" actId="790"/>
          <ac:spMkLst>
            <pc:docMk/>
            <pc:sldMk cId="1740556786" sldId="4119"/>
            <ac:spMk id="11" creationId="{9CCFED12-2297-7445-8666-39EB6704EDD9}"/>
          </ac:spMkLst>
        </pc:spChg>
        <pc:spChg chg="mod">
          <ac:chgData name="Hafiz Muhammad Salman" userId="47f5b1ff-37b9-4dd0-a37a-3bc5aec52fa1" providerId="ADAL" clId="{1D0D03E3-3226-4873-A599-0FE1608CAE58}" dt="2024-09-12T14:37:47.897" v="4077" actId="790"/>
          <ac:spMkLst>
            <pc:docMk/>
            <pc:sldMk cId="1740556786" sldId="4119"/>
            <ac:spMk id="12" creationId="{74092E67-EDFE-A949-9D8E-3E120C9C449A}"/>
          </ac:spMkLst>
        </pc:spChg>
        <pc:spChg chg="mod">
          <ac:chgData name="Hafiz Muhammad Salman" userId="47f5b1ff-37b9-4dd0-a37a-3bc5aec52fa1" providerId="ADAL" clId="{1D0D03E3-3226-4873-A599-0FE1608CAE58}" dt="2024-09-12T14:37:47.887" v="4066" actId="790"/>
          <ac:spMkLst>
            <pc:docMk/>
            <pc:sldMk cId="1740556786" sldId="4119"/>
            <ac:spMk id="13" creationId="{E2DBF5B5-44E4-9C4A-B7A8-62C196A8945A}"/>
          </ac:spMkLst>
        </pc:spChg>
        <pc:spChg chg="mod">
          <ac:chgData name="Hafiz Muhammad Salman" userId="47f5b1ff-37b9-4dd0-a37a-3bc5aec52fa1" providerId="ADAL" clId="{1D0D03E3-3226-4873-A599-0FE1608CAE58}" dt="2024-09-12T14:37:47.889" v="4067" actId="790"/>
          <ac:spMkLst>
            <pc:docMk/>
            <pc:sldMk cId="1740556786" sldId="4119"/>
            <ac:spMk id="14" creationId="{DD98026F-A297-F548-AAB9-B3799AC1DCFD}"/>
          </ac:spMkLst>
        </pc:spChg>
        <pc:spChg chg="mod">
          <ac:chgData name="Hafiz Muhammad Salman" userId="47f5b1ff-37b9-4dd0-a37a-3bc5aec52fa1" providerId="ADAL" clId="{1D0D03E3-3226-4873-A599-0FE1608CAE58}" dt="2024-09-12T14:37:47.892" v="4070" actId="790"/>
          <ac:spMkLst>
            <pc:docMk/>
            <pc:sldMk cId="1740556786" sldId="4119"/>
            <ac:spMk id="17" creationId="{07CB5B4A-1533-8446-BCED-DC843F0597ED}"/>
          </ac:spMkLst>
        </pc:spChg>
        <pc:spChg chg="mod">
          <ac:chgData name="Hafiz Muhammad Salman" userId="47f5b1ff-37b9-4dd0-a37a-3bc5aec52fa1" providerId="ADAL" clId="{1D0D03E3-3226-4873-A599-0FE1608CAE58}" dt="2024-09-12T14:37:47.893" v="4071" actId="790"/>
          <ac:spMkLst>
            <pc:docMk/>
            <pc:sldMk cId="1740556786" sldId="4119"/>
            <ac:spMk id="18" creationId="{AE7EAAEF-AF19-AE4F-B6A7-7AD62D9091B7}"/>
          </ac:spMkLst>
        </pc:spChg>
        <pc:spChg chg="mod">
          <ac:chgData name="Hafiz Muhammad Salman" userId="47f5b1ff-37b9-4dd0-a37a-3bc5aec52fa1" providerId="ADAL" clId="{1D0D03E3-3226-4873-A599-0FE1608CAE58}" dt="2024-09-12T14:37:47.895" v="4074" actId="790"/>
          <ac:spMkLst>
            <pc:docMk/>
            <pc:sldMk cId="1740556786" sldId="4119"/>
            <ac:spMk id="20" creationId="{D63B4EB4-8D60-FB47-B641-6CF1F3F68041}"/>
          </ac:spMkLst>
        </pc:spChg>
        <pc:spChg chg="mod">
          <ac:chgData name="Hafiz Muhammad Salman" userId="47f5b1ff-37b9-4dd0-a37a-3bc5aec52fa1" providerId="ADAL" clId="{1D0D03E3-3226-4873-A599-0FE1608CAE58}" dt="2024-09-12T14:37:47.895" v="4075" actId="790"/>
          <ac:spMkLst>
            <pc:docMk/>
            <pc:sldMk cId="1740556786" sldId="4119"/>
            <ac:spMk id="21" creationId="{94C81924-BC19-1440-911C-C673604EB7ED}"/>
          </ac:spMkLst>
        </pc:spChg>
        <pc:spChg chg="mod">
          <ac:chgData name="Hafiz Muhammad Salman" userId="47f5b1ff-37b9-4dd0-a37a-3bc5aec52fa1" providerId="ADAL" clId="{1D0D03E3-3226-4873-A599-0FE1608CAE58}" dt="2024-09-12T14:37:47.899" v="4078" actId="790"/>
          <ac:spMkLst>
            <pc:docMk/>
            <pc:sldMk cId="1740556786" sldId="4119"/>
            <ac:spMk id="23" creationId="{1432D652-3D52-2049-89E0-7687840BA42B}"/>
          </ac:spMkLst>
        </pc:spChg>
        <pc:spChg chg="mod">
          <ac:chgData name="Hafiz Muhammad Salman" userId="47f5b1ff-37b9-4dd0-a37a-3bc5aec52fa1" providerId="ADAL" clId="{1D0D03E3-3226-4873-A599-0FE1608CAE58}" dt="2024-09-12T14:37:47.900" v="4079" actId="790"/>
          <ac:spMkLst>
            <pc:docMk/>
            <pc:sldMk cId="1740556786" sldId="4119"/>
            <ac:spMk id="24" creationId="{FDA620A9-D2AC-A44B-A400-C351BD6EA962}"/>
          </ac:spMkLst>
        </pc:spChg>
      </pc:sldChg>
      <pc:sldChg chg="modSp del mod">
        <pc:chgData name="Hafiz Muhammad Salman" userId="47f5b1ff-37b9-4dd0-a37a-3bc5aec52fa1" providerId="ADAL" clId="{1D0D03E3-3226-4873-A599-0FE1608CAE58}" dt="2024-09-16T08:12:35.729" v="4500" actId="47"/>
        <pc:sldMkLst>
          <pc:docMk/>
          <pc:sldMk cId="2102785463" sldId="4119"/>
        </pc:sldMkLst>
        <pc:spChg chg="mod">
          <ac:chgData name="Hafiz Muhammad Salman" userId="47f5b1ff-37b9-4dd0-a37a-3bc5aec52fa1" providerId="ADAL" clId="{1D0D03E3-3226-4873-A599-0FE1608CAE58}" dt="2024-09-16T08:10:14.919" v="4433" actId="790"/>
          <ac:spMkLst>
            <pc:docMk/>
            <pc:sldMk cId="2102785463" sldId="4119"/>
            <ac:spMk id="11" creationId="{679C2E15-C79A-294D-BF38-DD1FF0AD15A7}"/>
          </ac:spMkLst>
        </pc:spChg>
        <pc:spChg chg="mod">
          <ac:chgData name="Hafiz Muhammad Salman" userId="47f5b1ff-37b9-4dd0-a37a-3bc5aec52fa1" providerId="ADAL" clId="{1D0D03E3-3226-4873-A599-0FE1608CAE58}" dt="2024-09-16T08:10:14.919" v="4432" actId="790"/>
          <ac:spMkLst>
            <pc:docMk/>
            <pc:sldMk cId="2102785463" sldId="4119"/>
            <ac:spMk id="15" creationId="{304FA028-13B5-AB4B-ABAE-48FC7096078F}"/>
          </ac:spMkLst>
        </pc:spChg>
        <pc:spChg chg="mod">
          <ac:chgData name="Hafiz Muhammad Salman" userId="47f5b1ff-37b9-4dd0-a37a-3bc5aec52fa1" providerId="ADAL" clId="{1D0D03E3-3226-4873-A599-0FE1608CAE58}" dt="2024-09-16T08:10:14.918" v="4431" actId="790"/>
          <ac:spMkLst>
            <pc:docMk/>
            <pc:sldMk cId="2102785463" sldId="4119"/>
            <ac:spMk id="19" creationId="{BB4B831F-3920-BE43-A3C6-FC58583EEFD9}"/>
          </ac:spMkLst>
        </pc:spChg>
        <pc:spChg chg="mod">
          <ac:chgData name="Hafiz Muhammad Salman" userId="47f5b1ff-37b9-4dd0-a37a-3bc5aec52fa1" providerId="ADAL" clId="{1D0D03E3-3226-4873-A599-0FE1608CAE58}" dt="2024-09-16T08:10:14.917" v="4430" actId="790"/>
          <ac:spMkLst>
            <pc:docMk/>
            <pc:sldMk cId="2102785463" sldId="4119"/>
            <ac:spMk id="23" creationId="{B9A980B4-290C-4840-B4DE-002F1B8EBB85}"/>
          </ac:spMkLst>
        </pc:spChg>
        <pc:spChg chg="mod">
          <ac:chgData name="Hafiz Muhammad Salman" userId="47f5b1ff-37b9-4dd0-a37a-3bc5aec52fa1" providerId="ADAL" clId="{1D0D03E3-3226-4873-A599-0FE1608CAE58}" dt="2024-09-16T08:10:14.916" v="4428" actId="790"/>
          <ac:spMkLst>
            <pc:docMk/>
            <pc:sldMk cId="2102785463" sldId="4119"/>
            <ac:spMk id="35" creationId="{72F1C383-F2F5-3D42-8DB5-166958CAF4A1}"/>
          </ac:spMkLst>
        </pc:spChg>
        <pc:spChg chg="mod">
          <ac:chgData name="Hafiz Muhammad Salman" userId="47f5b1ff-37b9-4dd0-a37a-3bc5aec52fa1" providerId="ADAL" clId="{1D0D03E3-3226-4873-A599-0FE1608CAE58}" dt="2024-09-16T08:10:14.917" v="4429" actId="790"/>
          <ac:spMkLst>
            <pc:docMk/>
            <pc:sldMk cId="2102785463" sldId="4119"/>
            <ac:spMk id="36" creationId="{4EE70ADE-39DC-3348-BC75-A24AE1297CDA}"/>
          </ac:spMkLst>
        </pc:spChg>
        <pc:spChg chg="mod">
          <ac:chgData name="Hafiz Muhammad Salman" userId="47f5b1ff-37b9-4dd0-a37a-3bc5aec52fa1" providerId="ADAL" clId="{1D0D03E3-3226-4873-A599-0FE1608CAE58}" dt="2024-09-16T08:10:14.915" v="4426" actId="790"/>
          <ac:spMkLst>
            <pc:docMk/>
            <pc:sldMk cId="2102785463" sldId="4119"/>
            <ac:spMk id="39" creationId="{33BD7DE0-5ED5-8A4B-B0CD-1C20C7365123}"/>
          </ac:spMkLst>
        </pc:spChg>
        <pc:spChg chg="mod">
          <ac:chgData name="Hafiz Muhammad Salman" userId="47f5b1ff-37b9-4dd0-a37a-3bc5aec52fa1" providerId="ADAL" clId="{1D0D03E3-3226-4873-A599-0FE1608CAE58}" dt="2024-09-16T08:10:14.915" v="4427" actId="790"/>
          <ac:spMkLst>
            <pc:docMk/>
            <pc:sldMk cId="2102785463" sldId="4119"/>
            <ac:spMk id="40" creationId="{21D9CC0E-F65D-514C-B4F3-EB393B73FBA1}"/>
          </ac:spMkLst>
        </pc:spChg>
        <pc:spChg chg="mod">
          <ac:chgData name="Hafiz Muhammad Salman" userId="47f5b1ff-37b9-4dd0-a37a-3bc5aec52fa1" providerId="ADAL" clId="{1D0D03E3-3226-4873-A599-0FE1608CAE58}" dt="2024-09-16T08:10:14.913" v="4424" actId="790"/>
          <ac:spMkLst>
            <pc:docMk/>
            <pc:sldMk cId="2102785463" sldId="4119"/>
            <ac:spMk id="43" creationId="{A8C8A0ED-C3ED-BC46-8FAC-B506AC9093B1}"/>
          </ac:spMkLst>
        </pc:spChg>
        <pc:spChg chg="mod">
          <ac:chgData name="Hafiz Muhammad Salman" userId="47f5b1ff-37b9-4dd0-a37a-3bc5aec52fa1" providerId="ADAL" clId="{1D0D03E3-3226-4873-A599-0FE1608CAE58}" dt="2024-09-16T08:10:14.914" v="4425" actId="790"/>
          <ac:spMkLst>
            <pc:docMk/>
            <pc:sldMk cId="2102785463" sldId="4119"/>
            <ac:spMk id="44" creationId="{FD7918B3-069B-A848-AA49-D47798CA5400}"/>
          </ac:spMkLst>
        </pc:spChg>
        <pc:spChg chg="mod">
          <ac:chgData name="Hafiz Muhammad Salman" userId="47f5b1ff-37b9-4dd0-a37a-3bc5aec52fa1" providerId="ADAL" clId="{1D0D03E3-3226-4873-A599-0FE1608CAE58}" dt="2024-09-16T08:10:14.912" v="4422" actId="790"/>
          <ac:spMkLst>
            <pc:docMk/>
            <pc:sldMk cId="2102785463" sldId="4119"/>
            <ac:spMk id="47" creationId="{AE92ABF2-1DE1-B244-9C6B-C450F499EE7D}"/>
          </ac:spMkLst>
        </pc:spChg>
        <pc:spChg chg="mod">
          <ac:chgData name="Hafiz Muhammad Salman" userId="47f5b1ff-37b9-4dd0-a37a-3bc5aec52fa1" providerId="ADAL" clId="{1D0D03E3-3226-4873-A599-0FE1608CAE58}" dt="2024-09-16T08:10:14.912" v="4423" actId="790"/>
          <ac:spMkLst>
            <pc:docMk/>
            <pc:sldMk cId="2102785463" sldId="4119"/>
            <ac:spMk id="48" creationId="{39F727E2-6A70-C245-A659-5E8C11F3D399}"/>
          </ac:spMkLst>
        </pc:spChg>
        <pc:spChg chg="mod">
          <ac:chgData name="Hafiz Muhammad Salman" userId="47f5b1ff-37b9-4dd0-a37a-3bc5aec52fa1" providerId="ADAL" clId="{1D0D03E3-3226-4873-A599-0FE1608CAE58}" dt="2024-09-16T08:10:14.910" v="4420" actId="790"/>
          <ac:spMkLst>
            <pc:docMk/>
            <pc:sldMk cId="2102785463" sldId="4119"/>
            <ac:spMk id="49" creationId="{AF07538E-50EA-6D42-ADAB-DBE7E8FB459D}"/>
          </ac:spMkLst>
        </pc:spChg>
        <pc:spChg chg="mod">
          <ac:chgData name="Hafiz Muhammad Salman" userId="47f5b1ff-37b9-4dd0-a37a-3bc5aec52fa1" providerId="ADAL" clId="{1D0D03E3-3226-4873-A599-0FE1608CAE58}" dt="2024-09-16T08:10:14.911" v="4421" actId="790"/>
          <ac:spMkLst>
            <pc:docMk/>
            <pc:sldMk cId="2102785463" sldId="4119"/>
            <ac:spMk id="50" creationId="{619BC360-EBE5-2945-8C68-A2F166717672}"/>
          </ac:spMkLst>
        </pc:spChg>
        <pc:spChg chg="mod">
          <ac:chgData name="Hafiz Muhammad Salman" userId="47f5b1ff-37b9-4dd0-a37a-3bc5aec52fa1" providerId="ADAL" clId="{1D0D03E3-3226-4873-A599-0FE1608CAE58}" dt="2024-09-16T08:10:14.904" v="4416" actId="790"/>
          <ac:spMkLst>
            <pc:docMk/>
            <pc:sldMk cId="2102785463" sldId="4119"/>
            <ac:spMk id="51" creationId="{537BCE44-5A09-264D-98AE-00199810900B}"/>
          </ac:spMkLst>
        </pc:spChg>
        <pc:spChg chg="mod">
          <ac:chgData name="Hafiz Muhammad Salman" userId="47f5b1ff-37b9-4dd0-a37a-3bc5aec52fa1" providerId="ADAL" clId="{1D0D03E3-3226-4873-A599-0FE1608CAE58}" dt="2024-09-16T08:10:14.905" v="4417" actId="790"/>
          <ac:spMkLst>
            <pc:docMk/>
            <pc:sldMk cId="2102785463" sldId="4119"/>
            <ac:spMk id="52" creationId="{E12E3939-D4AC-074D-BEB3-FE3DC8295B6E}"/>
          </ac:spMkLst>
        </pc:spChg>
        <pc:spChg chg="mod">
          <ac:chgData name="Hafiz Muhammad Salman" userId="47f5b1ff-37b9-4dd0-a37a-3bc5aec52fa1" providerId="ADAL" clId="{1D0D03E3-3226-4873-A599-0FE1608CAE58}" dt="2024-09-16T08:10:14.907" v="4418" actId="790"/>
          <ac:spMkLst>
            <pc:docMk/>
            <pc:sldMk cId="2102785463" sldId="4119"/>
            <ac:spMk id="53" creationId="{468FBD49-7A2E-564E-A915-EB682006EB7A}"/>
          </ac:spMkLst>
        </pc:spChg>
        <pc:spChg chg="mod">
          <ac:chgData name="Hafiz Muhammad Salman" userId="47f5b1ff-37b9-4dd0-a37a-3bc5aec52fa1" providerId="ADAL" clId="{1D0D03E3-3226-4873-A599-0FE1608CAE58}" dt="2024-09-16T08:10:14.908" v="4419" actId="790"/>
          <ac:spMkLst>
            <pc:docMk/>
            <pc:sldMk cId="2102785463" sldId="4119"/>
            <ac:spMk id="54" creationId="{ABF6774E-0F23-1741-959B-3D4445DB4F74}"/>
          </ac:spMkLst>
        </pc:spChg>
        <pc:spChg chg="mod">
          <ac:chgData name="Hafiz Muhammad Salman" userId="47f5b1ff-37b9-4dd0-a37a-3bc5aec52fa1" providerId="ADAL" clId="{1D0D03E3-3226-4873-A599-0FE1608CAE58}" dt="2024-09-16T08:10:14.920" v="4434" actId="790"/>
          <ac:spMkLst>
            <pc:docMk/>
            <pc:sldMk cId="2102785463" sldId="4119"/>
            <ac:spMk id="57" creationId="{D2BE1925-0051-5644-BF61-0DD0636D5410}"/>
          </ac:spMkLst>
        </pc:spChg>
        <pc:spChg chg="mod">
          <ac:chgData name="Hafiz Muhammad Salman" userId="47f5b1ff-37b9-4dd0-a37a-3bc5aec52fa1" providerId="ADAL" clId="{1D0D03E3-3226-4873-A599-0FE1608CAE58}" dt="2024-09-16T08:10:14.922" v="4435" actId="790"/>
          <ac:spMkLst>
            <pc:docMk/>
            <pc:sldMk cId="2102785463" sldId="4119"/>
            <ac:spMk id="58" creationId="{537A5283-53E8-DF46-B934-88EFD35B0252}"/>
          </ac:spMkLst>
        </pc:spChg>
        <pc:spChg chg="mod">
          <ac:chgData name="Hafiz Muhammad Salman" userId="47f5b1ff-37b9-4dd0-a37a-3bc5aec52fa1" providerId="ADAL" clId="{1D0D03E3-3226-4873-A599-0FE1608CAE58}" dt="2024-09-16T08:10:14.922" v="4436" actId="790"/>
          <ac:spMkLst>
            <pc:docMk/>
            <pc:sldMk cId="2102785463" sldId="4119"/>
            <ac:spMk id="59" creationId="{265B2BDD-F5BA-8045-A118-5825978548D9}"/>
          </ac:spMkLst>
        </pc:spChg>
        <pc:spChg chg="mod">
          <ac:chgData name="Hafiz Muhammad Salman" userId="47f5b1ff-37b9-4dd0-a37a-3bc5aec52fa1" providerId="ADAL" clId="{1D0D03E3-3226-4873-A599-0FE1608CAE58}" dt="2024-09-16T08:10:14.924" v="4437" actId="790"/>
          <ac:spMkLst>
            <pc:docMk/>
            <pc:sldMk cId="2102785463" sldId="4119"/>
            <ac:spMk id="60" creationId="{12FF079E-996F-7C47-9EAA-91B15AB58D79}"/>
          </ac:spMkLst>
        </pc:spChg>
        <pc:spChg chg="mod">
          <ac:chgData name="Hafiz Muhammad Salman" userId="47f5b1ff-37b9-4dd0-a37a-3bc5aec52fa1" providerId="ADAL" clId="{1D0D03E3-3226-4873-A599-0FE1608CAE58}" dt="2024-09-16T08:10:14.926" v="4438" actId="790"/>
          <ac:spMkLst>
            <pc:docMk/>
            <pc:sldMk cId="2102785463" sldId="4119"/>
            <ac:spMk id="61" creationId="{317B2F33-6883-6044-87D8-F3ADA764C354}"/>
          </ac:spMkLst>
        </pc:spChg>
        <pc:spChg chg="mod">
          <ac:chgData name="Hafiz Muhammad Salman" userId="47f5b1ff-37b9-4dd0-a37a-3bc5aec52fa1" providerId="ADAL" clId="{1D0D03E3-3226-4873-A599-0FE1608CAE58}" dt="2024-09-16T08:10:14.928" v="4439" actId="790"/>
          <ac:spMkLst>
            <pc:docMk/>
            <pc:sldMk cId="2102785463" sldId="4119"/>
            <ac:spMk id="62" creationId="{40CE4FD9-5AA5-584A-8381-FB2FD10D2636}"/>
          </ac:spMkLst>
        </pc:spChg>
        <pc:spChg chg="mod">
          <ac:chgData name="Hafiz Muhammad Salman" userId="47f5b1ff-37b9-4dd0-a37a-3bc5aec52fa1" providerId="ADAL" clId="{1D0D03E3-3226-4873-A599-0FE1608CAE58}" dt="2024-09-16T08:10:14.929" v="4440" actId="790"/>
          <ac:spMkLst>
            <pc:docMk/>
            <pc:sldMk cId="2102785463" sldId="4119"/>
            <ac:spMk id="63" creationId="{7B224227-5415-D044-B94A-53E926352C8C}"/>
          </ac:spMkLst>
        </pc:spChg>
        <pc:spChg chg="mod">
          <ac:chgData name="Hafiz Muhammad Salman" userId="47f5b1ff-37b9-4dd0-a37a-3bc5aec52fa1" providerId="ADAL" clId="{1D0D03E3-3226-4873-A599-0FE1608CAE58}" dt="2024-09-16T08:10:14.930" v="4441" actId="790"/>
          <ac:spMkLst>
            <pc:docMk/>
            <pc:sldMk cId="2102785463" sldId="4119"/>
            <ac:spMk id="64" creationId="{B53296FC-68C2-6B42-8E65-391F5BC024DD}"/>
          </ac:spMkLst>
        </pc:spChg>
        <pc:spChg chg="mod">
          <ac:chgData name="Hafiz Muhammad Salman" userId="47f5b1ff-37b9-4dd0-a37a-3bc5aec52fa1" providerId="ADAL" clId="{1D0D03E3-3226-4873-A599-0FE1608CAE58}" dt="2024-09-16T08:10:14.931" v="4442" actId="790"/>
          <ac:spMkLst>
            <pc:docMk/>
            <pc:sldMk cId="2102785463" sldId="4119"/>
            <ac:spMk id="65" creationId="{0172FCAA-2F6A-3F44-BDB4-7FE1A94C23D6}"/>
          </ac:spMkLst>
        </pc:spChg>
        <pc:spChg chg="mod">
          <ac:chgData name="Hafiz Muhammad Salman" userId="47f5b1ff-37b9-4dd0-a37a-3bc5aec52fa1" providerId="ADAL" clId="{1D0D03E3-3226-4873-A599-0FE1608CAE58}" dt="2024-09-16T08:10:14.931" v="4443" actId="790"/>
          <ac:spMkLst>
            <pc:docMk/>
            <pc:sldMk cId="2102785463" sldId="4119"/>
            <ac:spMk id="66" creationId="{98C824D0-26AA-6145-A45A-5072DF7045AD}"/>
          </ac:spMkLst>
        </pc:spChg>
        <pc:spChg chg="mod">
          <ac:chgData name="Hafiz Muhammad Salman" userId="47f5b1ff-37b9-4dd0-a37a-3bc5aec52fa1" providerId="ADAL" clId="{1D0D03E3-3226-4873-A599-0FE1608CAE58}" dt="2024-09-16T08:10:14.932" v="4444" actId="790"/>
          <ac:spMkLst>
            <pc:docMk/>
            <pc:sldMk cId="2102785463" sldId="4119"/>
            <ac:spMk id="67" creationId="{E0C2B26E-32F5-0842-866D-973A022C2C79}"/>
          </ac:spMkLst>
        </pc:spChg>
        <pc:spChg chg="mod">
          <ac:chgData name="Hafiz Muhammad Salman" userId="47f5b1ff-37b9-4dd0-a37a-3bc5aec52fa1" providerId="ADAL" clId="{1D0D03E3-3226-4873-A599-0FE1608CAE58}" dt="2024-09-16T08:10:14.933" v="4445" actId="790"/>
          <ac:spMkLst>
            <pc:docMk/>
            <pc:sldMk cId="2102785463" sldId="4119"/>
            <ac:spMk id="68" creationId="{674745B0-B9A9-4245-AC91-602D1A99DEA5}"/>
          </ac:spMkLst>
        </pc:spChg>
      </pc:sldChg>
      <pc:sldMasterChg chg="delSldLayout">
        <pc:chgData name="Hafiz Muhammad Salman" userId="47f5b1ff-37b9-4dd0-a37a-3bc5aec52fa1" providerId="ADAL" clId="{1D0D03E3-3226-4873-A599-0FE1608CAE58}" dt="2024-09-11T13:21:59.397" v="2606" actId="47"/>
        <pc:sldMasterMkLst>
          <pc:docMk/>
          <pc:sldMasterMk cId="0" sldId="2147483648"/>
        </pc:sldMasterMkLst>
        <pc:sldLayoutChg chg="del">
          <pc:chgData name="Hafiz Muhammad Salman" userId="47f5b1ff-37b9-4dd0-a37a-3bc5aec52fa1" providerId="ADAL" clId="{1D0D03E3-3226-4873-A599-0FE1608CAE58}" dt="2024-09-11T13:21:59.397" v="2606" actId="47"/>
          <pc:sldLayoutMkLst>
            <pc:docMk/>
            <pc:sldMasterMk cId="0" sldId="2147483648"/>
            <pc:sldLayoutMk cId="2284750331" sldId="2147483664"/>
          </pc:sldLayoutMkLst>
        </pc:sldLayoutChg>
        <pc:sldLayoutChg chg="del">
          <pc:chgData name="Hafiz Muhammad Salman" userId="47f5b1ff-37b9-4dd0-a37a-3bc5aec52fa1" providerId="ADAL" clId="{1D0D03E3-3226-4873-A599-0FE1608CAE58}" dt="2024-09-10T14:49:58.037" v="62" actId="2696"/>
          <pc:sldLayoutMkLst>
            <pc:docMk/>
            <pc:sldMasterMk cId="0" sldId="2147483648"/>
            <pc:sldLayoutMk cId="3195968363" sldId="2147483665"/>
          </pc:sldLayoutMkLst>
        </pc:sldLayoutChg>
      </pc:sldMasterChg>
    </pc:docChg>
  </pc:docChgLst>
</pc:chgInfo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8-06T13:42:09.448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0 5 24575,'82'-2'0,"-45"0"0,1 1 0,58 7 0,-96-6 0,1 0 0,-1 0 0,0 0 0,1 0 0,-1 0 0,0 0 0,1 0 0,-1 0 0,0 0 0,1 0 0,-1 0 0,0 0 0,1 0 0,-1 0 0,0 1 0,1-1 0,-1 0 0,0 0 0,1 0 0,-1 0 0,0 1 0,0-1 0,1 0 0,-1 0 0,0 1 0,0-1 0,1 0 0,-1 0 0,0 1 0,0-1 0,0 0 0,0 1 0,1-1 0,-1 0 0,0 1 0,0-1 0,0 0 0,0 1 0,0-1 0,0 0 0,0 1 0,-12 11 0,-23 7 0,23-15 0,-13 5 0,-1-2 0,0 0 0,0-2 0,-39 4 0,119-10 0,-13 2 0,-1-2 0,1-3 0,47-9 0,-57 8 0,0 1 0,0 1 0,0 2 0,42 4 0,59-4 0,-61-11 0,-51 7 0,-1 2 0,28-3 0,126 9 0,73-6 0,-174-10 93,-53 9-579,0 0 0,28-1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C930CB-8773-40DC-B86F-C651512E94FD}" type="datetimeFigureOut">
              <a:rPr lang="de-DE" smtClean="0"/>
              <a:t>17.09.2024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11EE8E-A712-4EE2-9CA2-4B25FD023CD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12651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11EE8E-A712-4EE2-9CA2-4B25FD023CD5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08914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80879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92790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arge ecosystem of third-party libraries and tool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make it a suitable choice for front end 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11EE8E-A712-4EE2-9CA2-4B25FD023CD5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041173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lowing us to focus on delivering features instead of spending time on infrastructure</a:t>
            </a:r>
          </a:p>
          <a:p>
            <a:endParaRPr lang="en-US" dirty="0"/>
          </a:p>
          <a:p>
            <a:r>
              <a:rPr lang="en-US" dirty="0"/>
              <a:t>and server-side cookies for authentication.</a:t>
            </a:r>
          </a:p>
          <a:p>
            <a:r>
              <a:rPr lang="en-US" dirty="0"/>
              <a:t>By using server-side cookies, we further protect the data from client-side attacks,</a:t>
            </a:r>
          </a:p>
          <a:p>
            <a:endParaRPr lang="en-US" dirty="0"/>
          </a:p>
          <a:p>
            <a:r>
              <a:rPr lang="en-US" dirty="0"/>
              <a:t>to make the application reliable and bug free I am using </a:t>
            </a:r>
            <a:r>
              <a:rPr lang="en-US" dirty="0" err="1"/>
              <a:t>junit</a:t>
            </a:r>
            <a:r>
              <a:rPr lang="en-US" dirty="0"/>
              <a:t>,</a:t>
            </a:r>
          </a:p>
          <a:p>
            <a:endParaRPr lang="en-US" dirty="0"/>
          </a:p>
          <a:p>
            <a:r>
              <a:rPr lang="en-US" dirty="0"/>
              <a:t> It provides secure, structured data storage and efficient retrieval, ensuring a fast and consistent experience for user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11EE8E-A712-4EE2-9CA2-4B25FD023CD5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39946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73887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emf"/><Relationship Id="rId4" Type="http://schemas.openxmlformats.org/officeDocument/2006/relationships/image" Target="../media/image8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FF033435-02C1-46A0-8B78-28D42A8B09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931" y="0"/>
            <a:ext cx="7053942" cy="68580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7D4C09E4-2D34-4938-B578-31EDF980848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192345" y="545818"/>
            <a:ext cx="2376261" cy="564362"/>
          </a:xfrm>
          <a:prstGeom prst="rect">
            <a:avLst/>
          </a:prstGeom>
          <a:noFill/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F6ACB284-38E0-4A32-87BD-6D48D3555E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55335" y="2594550"/>
            <a:ext cx="10057240" cy="834450"/>
          </a:xfrm>
          <a:prstGeom prst="rect">
            <a:avLst/>
          </a:prstGeom>
          <a:solidFill>
            <a:schemeClr val="bg1">
              <a:lumMod val="100000"/>
            </a:schemeClr>
          </a:solidFill>
        </p:spPr>
        <p:txBody>
          <a:bodyPr vert="horz" wrap="none" lIns="0" tIns="72000" rIns="0" bIns="0" anchor="ctr" anchorCtr="0">
            <a:spAutoFit/>
          </a:bodyPr>
          <a:lstStyle>
            <a:lvl1pPr marL="0" indent="0" algn="r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5500" b="1" i="0" u="none" kern="1200" spc="0">
                <a:solidFill>
                  <a:schemeClr val="tx1"/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de-DE" dirty="0"/>
              <a:t>Titel-Folie: Bitte nur einzeilig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092C3AF-0AB1-4C81-A15E-A78B897A67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35358" y="3441687"/>
            <a:ext cx="4777217" cy="1659264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400" b="0" i="0" u="none" kern="1200" cap="all" spc="0" baseline="0">
                <a:solidFill>
                  <a:schemeClr val="tx2"/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de-DE" dirty="0"/>
              <a:t>SUBHEADLINE FÜR TITEL IN </a:t>
            </a:r>
            <a:r>
              <a:rPr lang="de-DE" dirty="0" err="1"/>
              <a:t>GROßER</a:t>
            </a:r>
            <a:r>
              <a:rPr lang="de-DE" dirty="0"/>
              <a:t> SCHRIFT. DIESE SUBHEADLINE KANN MEHRZEILIG SEIN. DIE FORMATIERUNG IST RECHTSBÜNDIG MIT AUSRICHTUNG O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A19A0C0-68AD-43A6-8E7A-BBE8ABF8575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272464" y="6081238"/>
            <a:ext cx="1440111" cy="215354"/>
          </a:xfrm>
        </p:spPr>
        <p:txBody>
          <a:bodyPr lIns="0" tIns="0" rIns="0" bIns="0" anchor="ctr">
            <a:noAutofit/>
          </a:bodyPr>
          <a:lstStyle>
            <a:lvl1pPr algn="r">
              <a:defRPr sz="105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XX. Monat 20XX</a:t>
            </a:r>
          </a:p>
        </p:txBody>
      </p:sp>
    </p:spTree>
    <p:extLst>
      <p:ext uri="{BB962C8B-B14F-4D97-AF65-F5344CB8AC3E}">
        <p14:creationId xmlns:p14="http://schemas.microsoft.com/office/powerpoint/2010/main" val="42207886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_Deutsch_Ohne_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025F37D7-8148-454F-98BB-20DF60A1A8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910817" y="-4164"/>
            <a:ext cx="4284435" cy="6865199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6087FF92-B2C8-4840-AE07-F9B07FD45C3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0"/>
            <a:ext cx="9631125" cy="68652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09069E1-5216-4D26-A92F-8E5A0D6042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03373"/>
            <a:ext cx="8856000" cy="593602"/>
          </a:xfrm>
        </p:spPr>
        <p:txBody>
          <a:bodyPr/>
          <a:lstStyle/>
          <a:p>
            <a:r>
              <a:rPr lang="de-DE" dirty="0"/>
              <a:t>Überschrift, bitte einzeilig!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87858CC-5CB2-4C73-A34E-5E82C880A7E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B63CAE-2CBB-47A6-9FDC-55E3E16A1DD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13DDB888-17CD-4925-8A41-576196DD0E2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649591"/>
            <a:ext cx="3820287" cy="1923424"/>
          </a:xfrm>
          <a:prstGeom prst="rect">
            <a:avLst/>
          </a:prstGeom>
          <a:noFill/>
        </p:spPr>
        <p:txBody>
          <a:bodyPr vert="horz" wrap="square"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050" b="0" i="0" u="none" kern="1200" spc="0">
                <a:solidFill>
                  <a:schemeClr val="tx1"/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de-DE" dirty="0"/>
              <a:t>Platzhalter: Die Überwachung und Berichterstattung über alle relevanten Risiken ist für Banken von entscheidender Bedeutung und wird auch von den Aufsichtsbehörden gefordert.</a:t>
            </a:r>
            <a:endParaRPr lang="en-US" dirty="0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22CED52F-B97F-46AC-A5FB-0D685822AC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1279477"/>
            <a:ext cx="3820287" cy="315005"/>
          </a:xfrm>
          <a:prstGeom prst="rect">
            <a:avLst/>
          </a:prstGeom>
          <a:noFill/>
        </p:spPr>
        <p:txBody>
          <a:bodyPr vert="horz" wrap="square" lIns="0" tIns="0" rIns="0" bIns="0" anchor="ctr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400" b="1" i="0" u="none" kern="1200" spc="0">
                <a:solidFill>
                  <a:schemeClr val="tx1"/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de-DE" dirty="0"/>
              <a:t>Platzhalter</a:t>
            </a:r>
          </a:p>
        </p:txBody>
      </p:sp>
      <p:sp>
        <p:nvSpPr>
          <p:cNvPr id="19" name="Textplatzhalter 15">
            <a:extLst>
              <a:ext uri="{FF2B5EF4-FFF2-40B4-BE49-F238E27FC236}">
                <a16:creationId xmlns:a16="http://schemas.microsoft.com/office/drawing/2014/main" id="{8507E3F1-B62B-4574-A80F-683EDD1ED1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35953" y="1649592"/>
            <a:ext cx="3820287" cy="1923424"/>
          </a:xfrm>
          <a:prstGeom prst="rect">
            <a:avLst/>
          </a:prstGeom>
          <a:noFill/>
        </p:spPr>
        <p:txBody>
          <a:bodyPr vert="horz" wrap="square"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050" b="0" i="0" u="none" kern="1200" spc="0">
                <a:solidFill>
                  <a:schemeClr val="tx1"/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de-DE" dirty="0"/>
              <a:t>Platzhalter: Die Überwachung und Berichterstattung über alle relevanten Risiken ist für Banken von entscheidender Bedeutung und wird auch von den Aufsichtsbehörden gefordert.</a:t>
            </a:r>
            <a:endParaRPr lang="en-US" dirty="0"/>
          </a:p>
        </p:txBody>
      </p:sp>
      <p:sp>
        <p:nvSpPr>
          <p:cNvPr id="20" name="Textplatzhalter 17">
            <a:extLst>
              <a:ext uri="{FF2B5EF4-FFF2-40B4-BE49-F238E27FC236}">
                <a16:creationId xmlns:a16="http://schemas.microsoft.com/office/drawing/2014/main" id="{D0A72AB9-68A0-44D9-A7F9-EB5C0752437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35953" y="1279477"/>
            <a:ext cx="3820287" cy="315005"/>
          </a:xfrm>
          <a:prstGeom prst="rect">
            <a:avLst/>
          </a:prstGeom>
          <a:noFill/>
        </p:spPr>
        <p:txBody>
          <a:bodyPr vert="horz" wrap="square" lIns="0" tIns="0" rIns="0" bIns="0" anchor="ctr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400" b="1" i="0" u="none" kern="1200" spc="0">
                <a:solidFill>
                  <a:schemeClr val="tx1"/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de-DE" dirty="0"/>
              <a:t>Platzhalter</a:t>
            </a:r>
          </a:p>
        </p:txBody>
      </p:sp>
      <p:sp>
        <p:nvSpPr>
          <p:cNvPr id="31" name="Textplatzhalter 10">
            <a:extLst>
              <a:ext uri="{FF2B5EF4-FFF2-40B4-BE49-F238E27FC236}">
                <a16:creationId xmlns:a16="http://schemas.microsoft.com/office/drawing/2014/main" id="{4407641B-2F24-4786-97C5-F80B1C50AB9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79425" y="373691"/>
            <a:ext cx="8856000" cy="219585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Folien </a:t>
            </a:r>
            <a:r>
              <a:rPr lang="de-DE" dirty="0" err="1"/>
              <a:t>Pre</a:t>
            </a:r>
            <a:r>
              <a:rPr lang="de-DE" dirty="0"/>
              <a:t>-Headline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39A61115-B1D7-4DD7-923A-24A0DF25CE0E}"/>
              </a:ext>
            </a:extLst>
          </p:cNvPr>
          <p:cNvSpPr txBox="1"/>
          <p:nvPr userDrawn="1"/>
        </p:nvSpPr>
        <p:spPr>
          <a:xfrm>
            <a:off x="9428622" y="3613083"/>
            <a:ext cx="2247442" cy="24154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pPr marL="0" lvl="0" indent="0" algn="l">
              <a:lnSpc>
                <a:spcPct val="122000"/>
              </a:lnSpc>
              <a:spcBef>
                <a:spcPts val="560"/>
              </a:spcBef>
              <a:spcAft>
                <a:spcPts val="0"/>
              </a:spcAft>
            </a:pPr>
            <a:r>
              <a:rPr lang="de-DE" sz="1400" b="1" i="0" u="none" kern="1200" spc="0" dirty="0">
                <a:solidFill>
                  <a:schemeClr val="bg1"/>
                </a:solidFill>
                <a:latin typeface="Montserrat Medium" panose="00000600000000000000" pitchFamily="2" charset="0"/>
              </a:rPr>
              <a:t>INSIGHTS</a:t>
            </a:r>
          </a:p>
        </p:txBody>
      </p:sp>
      <p:sp>
        <p:nvSpPr>
          <p:cNvPr id="44" name="Textplatzhalter 17">
            <a:extLst>
              <a:ext uri="{FF2B5EF4-FFF2-40B4-BE49-F238E27FC236}">
                <a16:creationId xmlns:a16="http://schemas.microsoft.com/office/drawing/2014/main" id="{66DA6EB2-F020-4938-B204-A26413AD0B0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79425" y="3700141"/>
            <a:ext cx="3820287" cy="315005"/>
          </a:xfrm>
          <a:prstGeom prst="rect">
            <a:avLst/>
          </a:prstGeom>
          <a:noFill/>
        </p:spPr>
        <p:txBody>
          <a:bodyPr vert="horz" wrap="square" lIns="0" tIns="0" rIns="0" bIns="0" anchor="ctr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400" b="1" i="0" u="none" kern="1200" spc="0">
                <a:solidFill>
                  <a:schemeClr val="tx1"/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de-DE" dirty="0"/>
              <a:t>Platzhalter</a:t>
            </a:r>
          </a:p>
        </p:txBody>
      </p:sp>
      <p:sp>
        <p:nvSpPr>
          <p:cNvPr id="46" name="Textplatzhalter 17">
            <a:extLst>
              <a:ext uri="{FF2B5EF4-FFF2-40B4-BE49-F238E27FC236}">
                <a16:creationId xmlns:a16="http://schemas.microsoft.com/office/drawing/2014/main" id="{D5A3E043-6334-46C1-9C2E-772DD11CB65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35953" y="3700141"/>
            <a:ext cx="3820287" cy="315005"/>
          </a:xfrm>
          <a:prstGeom prst="rect">
            <a:avLst/>
          </a:prstGeom>
          <a:noFill/>
        </p:spPr>
        <p:txBody>
          <a:bodyPr vert="horz" wrap="square" lIns="0" tIns="0" rIns="0" bIns="0" anchor="ctr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400" b="1" i="0" u="none" kern="1200" spc="0">
                <a:solidFill>
                  <a:schemeClr val="tx1"/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de-DE" dirty="0"/>
              <a:t>Platzhalter</a:t>
            </a:r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44F61CE1-2CA9-4081-8390-79CFCEE15F0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28621" y="3945693"/>
            <a:ext cx="2283953" cy="2360099"/>
          </a:xfrm>
          <a:prstGeom prst="rect">
            <a:avLst/>
          </a:prstGeom>
        </p:spPr>
        <p:txBody>
          <a:bodyPr vert="horz" wrap="square"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050" b="1" i="0" u="none" kern="1200" spc="0">
                <a:solidFill>
                  <a:schemeClr val="bg1">
                    <a:lumMod val="100000"/>
                  </a:schemeClr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de-DE" dirty="0"/>
              <a:t>Vorausschauende Analyse lassen sich leicht erstellen, wenn die Daten sorgfältig verstanden, modelliert und bereinigt werden.</a:t>
            </a:r>
            <a:endParaRPr lang="en-US" dirty="0"/>
          </a:p>
        </p:txBody>
      </p:sp>
      <p:sp>
        <p:nvSpPr>
          <p:cNvPr id="25" name="Content Placeholder 8">
            <a:extLst>
              <a:ext uri="{FF2B5EF4-FFF2-40B4-BE49-F238E27FC236}">
                <a16:creationId xmlns:a16="http://schemas.microsoft.com/office/drawing/2014/main" id="{954894C6-A152-41BB-9442-AB9CBF4C1BA7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479425" y="4070255"/>
            <a:ext cx="3820287" cy="1923424"/>
          </a:xfrm>
        </p:spPr>
        <p:txBody>
          <a:bodyPr lIns="0" tIns="0" rIns="0" bIns="0"/>
          <a:lstStyle>
            <a:lvl1pPr marL="0" indent="0">
              <a:defRPr sz="1050"/>
            </a:lvl1pPr>
            <a:lvl2pPr marL="135000" indent="-135000">
              <a:defRPr sz="1050"/>
            </a:lvl2pPr>
            <a:lvl3pPr marL="270000" indent="-135000">
              <a:defRPr sz="1050"/>
            </a:lvl3pPr>
            <a:lvl4pPr marL="405000" indent="-135000">
              <a:defRPr sz="1050"/>
            </a:lvl4pPr>
            <a:lvl5pPr marL="540000" indent="-135000">
              <a:defRPr sz="105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6" name="Content Placeholder 8">
            <a:extLst>
              <a:ext uri="{FF2B5EF4-FFF2-40B4-BE49-F238E27FC236}">
                <a16:creationId xmlns:a16="http://schemas.microsoft.com/office/drawing/2014/main" id="{702299C3-FD00-4D39-8A98-D066F76F8DD3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4435953" y="4070255"/>
            <a:ext cx="3820287" cy="1923424"/>
          </a:xfrm>
        </p:spPr>
        <p:txBody>
          <a:bodyPr lIns="0" tIns="0" rIns="0" bIns="0"/>
          <a:lstStyle>
            <a:lvl1pPr marL="0" indent="0">
              <a:defRPr sz="1050"/>
            </a:lvl1pPr>
            <a:lvl2pPr marL="135000" indent="-135000">
              <a:defRPr sz="1050"/>
            </a:lvl2pPr>
            <a:lvl3pPr marL="270000" indent="-135000">
              <a:defRPr sz="1050"/>
            </a:lvl3pPr>
            <a:lvl4pPr marL="405000" indent="-135000">
              <a:defRPr sz="1050"/>
            </a:lvl4pPr>
            <a:lvl5pPr marL="540000" indent="-135000">
              <a:defRPr sz="105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BB493C54-8B42-44BE-9F68-0839CB073918}"/>
              </a:ext>
            </a:extLst>
          </p:cNvPr>
          <p:cNvSpPr txBox="1"/>
          <p:nvPr userDrawn="1"/>
        </p:nvSpPr>
        <p:spPr>
          <a:xfrm>
            <a:off x="9428623" y="2073600"/>
            <a:ext cx="816307" cy="24154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</a:pPr>
            <a:r>
              <a:rPr lang="de-DE" sz="1200" b="1" i="0" u="none" kern="1200" spc="0">
                <a:solidFill>
                  <a:schemeClr val="bg1"/>
                </a:solidFill>
                <a:latin typeface="+mn-lt"/>
              </a:rPr>
              <a:t>Zeitraum</a:t>
            </a:r>
            <a:endParaRPr lang="de-DE" sz="1200" b="1" i="0" u="none" kern="1200" spc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8521DE7E-B673-46F7-B7D5-0A7737A57291}"/>
              </a:ext>
            </a:extLst>
          </p:cNvPr>
          <p:cNvSpPr txBox="1"/>
          <p:nvPr userDrawn="1"/>
        </p:nvSpPr>
        <p:spPr>
          <a:xfrm>
            <a:off x="9428622" y="1649592"/>
            <a:ext cx="816307" cy="38287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</a:pPr>
            <a:r>
              <a:rPr lang="de-DE" sz="1200" b="1" i="0" u="none" kern="1200" spc="0">
                <a:solidFill>
                  <a:schemeClr val="bg1"/>
                </a:solidFill>
                <a:latin typeface="+mn-lt"/>
              </a:rPr>
              <a:t>Kunde</a:t>
            </a:r>
            <a:endParaRPr lang="de-DE" sz="1200" b="1" i="0" u="none" kern="1200" spc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505CC153-C089-4E44-8488-59B2BF9F9E1C}"/>
              </a:ext>
            </a:extLst>
          </p:cNvPr>
          <p:cNvSpPr txBox="1"/>
          <p:nvPr userDrawn="1"/>
        </p:nvSpPr>
        <p:spPr>
          <a:xfrm>
            <a:off x="9428622" y="2468924"/>
            <a:ext cx="816307" cy="24154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</a:pPr>
            <a:r>
              <a:rPr lang="de-DE" sz="1200" b="1" i="0" u="none" kern="1200" spc="0">
                <a:solidFill>
                  <a:schemeClr val="bg1"/>
                </a:solidFill>
                <a:latin typeface="+mn-lt"/>
              </a:rPr>
              <a:t>Umfang</a:t>
            </a:r>
            <a:endParaRPr lang="de-DE" sz="1200" b="1" i="0" u="none" kern="1200" spc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903F5329-522D-4A32-A46B-4BA46F8C2B77}"/>
              </a:ext>
            </a:extLst>
          </p:cNvPr>
          <p:cNvSpPr txBox="1"/>
          <p:nvPr userDrawn="1"/>
        </p:nvSpPr>
        <p:spPr>
          <a:xfrm>
            <a:off x="9428623" y="2891968"/>
            <a:ext cx="816307" cy="537032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</a:pPr>
            <a:r>
              <a:rPr lang="de-DE" sz="1200" b="1" i="0" u="none" kern="1200" spc="0">
                <a:solidFill>
                  <a:schemeClr val="bg1"/>
                </a:solidFill>
                <a:latin typeface="+mn-lt"/>
              </a:rPr>
              <a:t>Rolle</a:t>
            </a:r>
            <a:endParaRPr lang="de-DE" sz="1200" b="1" i="0" u="none" kern="1200" spc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3" name="Textplatzhalter 49">
            <a:extLst>
              <a:ext uri="{FF2B5EF4-FFF2-40B4-BE49-F238E27FC236}">
                <a16:creationId xmlns:a16="http://schemas.microsoft.com/office/drawing/2014/main" id="{5C3422B6-E800-4756-8937-06F4E3C9DA7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265714" y="1649592"/>
            <a:ext cx="1887555" cy="382879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200" b="0" i="0" u="none" kern="1200" spc="0">
                <a:solidFill>
                  <a:schemeClr val="tx2">
                    <a:lumMod val="100000"/>
                  </a:schemeClr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de-DE"/>
              <a:t>Kundenname bis max. 2 Zeilen</a:t>
            </a:r>
            <a:endParaRPr lang="de-DE" dirty="0"/>
          </a:p>
        </p:txBody>
      </p:sp>
      <p:sp>
        <p:nvSpPr>
          <p:cNvPr id="35" name="Textplatzhalter 49">
            <a:extLst>
              <a:ext uri="{FF2B5EF4-FFF2-40B4-BE49-F238E27FC236}">
                <a16:creationId xmlns:a16="http://schemas.microsoft.com/office/drawing/2014/main" id="{438D50BA-1649-4462-B2C0-5A029A5BA96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0265714" y="2073600"/>
            <a:ext cx="1887555" cy="241541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200" b="0" i="0" u="none" kern="1200" spc="0">
                <a:solidFill>
                  <a:schemeClr val="tx2">
                    <a:lumMod val="100000"/>
                  </a:schemeClr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de-DE"/>
              <a:t>20XX – 20XX</a:t>
            </a:r>
            <a:endParaRPr lang="de-DE" dirty="0"/>
          </a:p>
        </p:txBody>
      </p:sp>
      <p:sp>
        <p:nvSpPr>
          <p:cNvPr id="37" name="Textplatzhalter 49">
            <a:extLst>
              <a:ext uri="{FF2B5EF4-FFF2-40B4-BE49-F238E27FC236}">
                <a16:creationId xmlns:a16="http://schemas.microsoft.com/office/drawing/2014/main" id="{DFB10A2C-65D4-489C-8825-B729BFCA8E1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265714" y="2468924"/>
            <a:ext cx="1887555" cy="241541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200" b="0" i="0" u="none" kern="1200" spc="0">
                <a:solidFill>
                  <a:schemeClr val="tx2">
                    <a:lumMod val="100000"/>
                  </a:schemeClr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de-DE" dirty="0"/>
              <a:t>50 Personentage</a:t>
            </a:r>
          </a:p>
        </p:txBody>
      </p:sp>
      <p:sp>
        <p:nvSpPr>
          <p:cNvPr id="39" name="Textplatzhalter 49">
            <a:extLst>
              <a:ext uri="{FF2B5EF4-FFF2-40B4-BE49-F238E27FC236}">
                <a16:creationId xmlns:a16="http://schemas.microsoft.com/office/drawing/2014/main" id="{865CA73E-E688-47F9-9319-9505BFBCAF1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265714" y="2891968"/>
            <a:ext cx="1887555" cy="537032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200" b="0" i="0" u="none" kern="1200" spc="0">
                <a:solidFill>
                  <a:schemeClr val="tx2">
                    <a:lumMod val="100000"/>
                  </a:schemeClr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de-DE" dirty="0"/>
              <a:t>Architekt, Data-Ingenieur, BI Expert</a:t>
            </a:r>
          </a:p>
        </p:txBody>
      </p:sp>
    </p:spTree>
    <p:extLst>
      <p:ext uri="{BB962C8B-B14F-4D97-AF65-F5344CB8AC3E}">
        <p14:creationId xmlns:p14="http://schemas.microsoft.com/office/powerpoint/2010/main" val="20893499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_Univers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">
            <a:extLst>
              <a:ext uri="{FF2B5EF4-FFF2-40B4-BE49-F238E27FC236}">
                <a16:creationId xmlns:a16="http://schemas.microsoft.com/office/drawing/2014/main" id="{B26A81B5-A800-4AF3-9246-57CE910D3F12}"/>
              </a:ext>
            </a:extLst>
          </p:cNvPr>
          <p:cNvSpPr/>
          <p:nvPr userDrawn="1"/>
        </p:nvSpPr>
        <p:spPr>
          <a:xfrm>
            <a:off x="-5938" y="-18001"/>
            <a:ext cx="4511824" cy="6886888"/>
          </a:xfrm>
          <a:custGeom>
            <a:avLst/>
            <a:gdLst>
              <a:gd name="connsiteX0" fmla="*/ 0 w 4511824"/>
              <a:gd name="connsiteY0" fmla="*/ 0 h 6876001"/>
              <a:gd name="connsiteX1" fmla="*/ 4511824 w 4511824"/>
              <a:gd name="connsiteY1" fmla="*/ 0 h 6876001"/>
              <a:gd name="connsiteX2" fmla="*/ 4511824 w 4511824"/>
              <a:gd name="connsiteY2" fmla="*/ 6876001 h 6876001"/>
              <a:gd name="connsiteX3" fmla="*/ 0 w 4511824"/>
              <a:gd name="connsiteY3" fmla="*/ 6876001 h 6876001"/>
              <a:gd name="connsiteX4" fmla="*/ 0 w 4511824"/>
              <a:gd name="connsiteY4" fmla="*/ 0 h 6876001"/>
              <a:gd name="connsiteX0" fmla="*/ 0 w 4511824"/>
              <a:gd name="connsiteY0" fmla="*/ 0 h 7071944"/>
              <a:gd name="connsiteX1" fmla="*/ 4511824 w 4511824"/>
              <a:gd name="connsiteY1" fmla="*/ 0 h 7071944"/>
              <a:gd name="connsiteX2" fmla="*/ 3401481 w 4511824"/>
              <a:gd name="connsiteY2" fmla="*/ 7071944 h 7071944"/>
              <a:gd name="connsiteX3" fmla="*/ 0 w 4511824"/>
              <a:gd name="connsiteY3" fmla="*/ 6876001 h 7071944"/>
              <a:gd name="connsiteX4" fmla="*/ 0 w 4511824"/>
              <a:gd name="connsiteY4" fmla="*/ 0 h 7071944"/>
              <a:gd name="connsiteX0" fmla="*/ 0 w 4511824"/>
              <a:gd name="connsiteY0" fmla="*/ 0 h 6886887"/>
              <a:gd name="connsiteX1" fmla="*/ 4511824 w 4511824"/>
              <a:gd name="connsiteY1" fmla="*/ 0 h 6886887"/>
              <a:gd name="connsiteX2" fmla="*/ 3140223 w 4511824"/>
              <a:gd name="connsiteY2" fmla="*/ 6886887 h 6886887"/>
              <a:gd name="connsiteX3" fmla="*/ 0 w 4511824"/>
              <a:gd name="connsiteY3" fmla="*/ 6876001 h 6886887"/>
              <a:gd name="connsiteX4" fmla="*/ 0 w 4511824"/>
              <a:gd name="connsiteY4" fmla="*/ 0 h 6886887"/>
              <a:gd name="connsiteX0" fmla="*/ 0 w 4511824"/>
              <a:gd name="connsiteY0" fmla="*/ 0 h 6897773"/>
              <a:gd name="connsiteX1" fmla="*/ 4511824 w 4511824"/>
              <a:gd name="connsiteY1" fmla="*/ 0 h 6897773"/>
              <a:gd name="connsiteX2" fmla="*/ 2868081 w 4511824"/>
              <a:gd name="connsiteY2" fmla="*/ 6897773 h 6897773"/>
              <a:gd name="connsiteX3" fmla="*/ 0 w 4511824"/>
              <a:gd name="connsiteY3" fmla="*/ 6876001 h 6897773"/>
              <a:gd name="connsiteX4" fmla="*/ 0 w 4511824"/>
              <a:gd name="connsiteY4" fmla="*/ 0 h 6897773"/>
              <a:gd name="connsiteX0" fmla="*/ 0 w 4511824"/>
              <a:gd name="connsiteY0" fmla="*/ 0 h 6886888"/>
              <a:gd name="connsiteX1" fmla="*/ 4511824 w 4511824"/>
              <a:gd name="connsiteY1" fmla="*/ 0 h 6886888"/>
              <a:gd name="connsiteX2" fmla="*/ 2998709 w 4511824"/>
              <a:gd name="connsiteY2" fmla="*/ 6886888 h 6886888"/>
              <a:gd name="connsiteX3" fmla="*/ 0 w 4511824"/>
              <a:gd name="connsiteY3" fmla="*/ 6876001 h 6886888"/>
              <a:gd name="connsiteX4" fmla="*/ 0 w 4511824"/>
              <a:gd name="connsiteY4" fmla="*/ 0 h 6886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11824" h="6886888">
                <a:moveTo>
                  <a:pt x="0" y="0"/>
                </a:moveTo>
                <a:lnTo>
                  <a:pt x="4511824" y="0"/>
                </a:lnTo>
                <a:lnTo>
                  <a:pt x="2998709" y="6886888"/>
                </a:lnTo>
                <a:lnTo>
                  <a:pt x="0" y="6876001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>
              <a:latin typeface="+mn-lt"/>
            </a:endParaRPr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id="{193029FA-14CE-4F5D-A973-A414369BC9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370883" y="1780384"/>
            <a:ext cx="8619928" cy="4538407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9D31BE5C-F53E-47AF-903F-0DF603DF29D2}"/>
              </a:ext>
            </a:extLst>
          </p:cNvPr>
          <p:cNvSpPr txBox="1"/>
          <p:nvPr userDrawn="1"/>
        </p:nvSpPr>
        <p:spPr>
          <a:xfrm>
            <a:off x="494705" y="501555"/>
            <a:ext cx="3979567" cy="550958"/>
          </a:xfrm>
          <a:prstGeom prst="rect">
            <a:avLst/>
          </a:prstGeom>
          <a:noFill/>
        </p:spPr>
        <p:txBody>
          <a:bodyPr vert="horz" wrap="square" lIns="0" tIns="45720" rIns="0" bIns="4572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</a:pPr>
            <a:r>
              <a:rPr lang="de-DE" sz="3500" b="0" i="0" u="none" kern="1200" spc="0" dirty="0">
                <a:solidFill>
                  <a:schemeClr val="bg1">
                    <a:lumMod val="100000"/>
                  </a:schemeClr>
                </a:solidFill>
                <a:latin typeface="+mj-lt"/>
              </a:rPr>
              <a:t>At a </a:t>
            </a:r>
            <a:r>
              <a:rPr lang="de-DE" sz="3500" b="0" i="0" u="none" kern="1200" spc="0" dirty="0" err="1">
                <a:solidFill>
                  <a:schemeClr val="bg1">
                    <a:lumMod val="100000"/>
                  </a:schemeClr>
                </a:solidFill>
                <a:latin typeface="+mj-lt"/>
              </a:rPr>
              <a:t>Glance</a:t>
            </a:r>
            <a:endParaRPr lang="de-DE" sz="3500" b="0" i="0" u="none" kern="1200" spc="0" dirty="0">
              <a:solidFill>
                <a:schemeClr val="bg1">
                  <a:lumMod val="100000"/>
                </a:schemeClr>
              </a:solidFill>
              <a:latin typeface="+mj-lt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B6C50640-25CD-4A07-8123-6AFC92892404}"/>
              </a:ext>
            </a:extLst>
          </p:cNvPr>
          <p:cNvSpPr txBox="1"/>
          <p:nvPr userDrawn="1"/>
        </p:nvSpPr>
        <p:spPr>
          <a:xfrm>
            <a:off x="515939" y="359930"/>
            <a:ext cx="3979567" cy="207340"/>
          </a:xfrm>
          <a:prstGeom prst="rect">
            <a:avLst/>
          </a:prstGeom>
          <a:noFill/>
        </p:spPr>
        <p:txBody>
          <a:bodyPr vert="horz" wrap="square" lIns="0" tIns="45720" rIns="0" bIns="4572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</a:pPr>
            <a:r>
              <a:rPr lang="de-DE" sz="1400" b="0" i="0" u="none" kern="1200" spc="0" dirty="0">
                <a:solidFill>
                  <a:schemeClr val="tx2">
                    <a:lumMod val="75000"/>
                  </a:schemeClr>
                </a:solidFill>
                <a:latin typeface="+mj-lt"/>
              </a:rPr>
              <a:t>ÜBER ADVISORI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0611ED67-C01B-40F3-B3B7-A2FD76559B1C}"/>
              </a:ext>
            </a:extLst>
          </p:cNvPr>
          <p:cNvSpPr txBox="1"/>
          <p:nvPr userDrawn="1"/>
        </p:nvSpPr>
        <p:spPr>
          <a:xfrm>
            <a:off x="4295800" y="501555"/>
            <a:ext cx="2736304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de-DE" sz="3500" b="0" i="0" u="none" kern="1200" spc="0" dirty="0">
                <a:solidFill>
                  <a:schemeClr val="tx1">
                    <a:lumMod val="100000"/>
                  </a:schemeClr>
                </a:solidFill>
                <a:latin typeface="+mj-lt"/>
              </a:rPr>
              <a:t>Partner</a:t>
            </a:r>
            <a:br>
              <a:rPr lang="de-DE" sz="3500" b="0" i="0" u="none" kern="1200" spc="0" dirty="0">
                <a:solidFill>
                  <a:schemeClr val="tx1">
                    <a:lumMod val="100000"/>
                  </a:schemeClr>
                </a:solidFill>
                <a:latin typeface="+mj-lt"/>
              </a:rPr>
            </a:br>
            <a:r>
              <a:rPr lang="de-DE" sz="3500" b="0" i="0" u="none" kern="1200" spc="0" dirty="0">
                <a:solidFill>
                  <a:schemeClr val="tx1">
                    <a:lumMod val="100000"/>
                  </a:schemeClr>
                </a:solidFill>
                <a:latin typeface="+mj-lt"/>
              </a:rPr>
              <a:t>&amp;Verbände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425848A-7A0C-410D-A179-60558E528F05}"/>
              </a:ext>
            </a:extLst>
          </p:cNvPr>
          <p:cNvSpPr txBox="1"/>
          <p:nvPr userDrawn="1"/>
        </p:nvSpPr>
        <p:spPr>
          <a:xfrm>
            <a:off x="7326074" y="501555"/>
            <a:ext cx="4371222" cy="1149921"/>
          </a:xfrm>
          <a:prstGeom prst="rect">
            <a:avLst/>
          </a:prstGeom>
          <a:noFill/>
        </p:spPr>
        <p:txBody>
          <a:bodyPr vert="horz" wrap="square" lIns="72000" tIns="72000" rIns="72000" bIns="0" rtlCol="0" anchor="ctr" anchorCtr="0">
            <a:spAutoFit/>
          </a:bodyPr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de-DE" sz="3500" b="0" i="0" u="none" kern="1200" spc="0" dirty="0">
                <a:solidFill>
                  <a:schemeClr val="tx1">
                    <a:lumMod val="100000"/>
                  </a:schemeClr>
                </a:solidFill>
                <a:latin typeface="+mj-lt"/>
              </a:rPr>
              <a:t>Ausgewählte Kunden</a:t>
            </a:r>
          </a:p>
        </p:txBody>
      </p:sp>
      <p:cxnSp>
        <p:nvCxnSpPr>
          <p:cNvPr id="16" name="Gerade Verbindung 79">
            <a:extLst>
              <a:ext uri="{FF2B5EF4-FFF2-40B4-BE49-F238E27FC236}">
                <a16:creationId xmlns:a16="http://schemas.microsoft.com/office/drawing/2014/main" id="{7F0B4943-19E2-41CE-8655-2EF8420279A1}"/>
              </a:ext>
            </a:extLst>
          </p:cNvPr>
          <p:cNvCxnSpPr>
            <a:cxnSpLocks/>
          </p:cNvCxnSpPr>
          <p:nvPr userDrawn="1"/>
        </p:nvCxnSpPr>
        <p:spPr>
          <a:xfrm flipH="1">
            <a:off x="5956819" y="697424"/>
            <a:ext cx="1280973" cy="555087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Grafik 17">
            <a:extLst>
              <a:ext uri="{FF2B5EF4-FFF2-40B4-BE49-F238E27FC236}">
                <a16:creationId xmlns:a16="http://schemas.microsoft.com/office/drawing/2014/main" id="{57F90331-1EE7-40BC-A26B-79807BFFE5D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03901" y="2144029"/>
            <a:ext cx="288383" cy="469957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D212C007-AFDD-4B6F-835D-CC645162863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00811" y="3177602"/>
            <a:ext cx="523362" cy="555405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B853BB24-B4BC-459B-99DA-4F1B18FCE81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90284" y="4224475"/>
            <a:ext cx="715617" cy="491319"/>
          </a:xfrm>
          <a:prstGeom prst="rect">
            <a:avLst/>
          </a:prstGeom>
        </p:spPr>
      </p:pic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68EA575D-F6CB-4F8A-9517-4798B87F474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0811" y="5332413"/>
            <a:ext cx="405050" cy="397478"/>
            <a:chOff x="573088" y="4954588"/>
            <a:chExt cx="509587" cy="500062"/>
          </a:xfrm>
        </p:grpSpPr>
        <p:sp>
          <p:nvSpPr>
            <p:cNvPr id="24" name="AutoShape 3">
              <a:extLst>
                <a:ext uri="{FF2B5EF4-FFF2-40B4-BE49-F238E27FC236}">
                  <a16:creationId xmlns:a16="http://schemas.microsoft.com/office/drawing/2014/main" id="{997DEE7A-7619-4D2D-94EC-13B19C7B7FF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3088" y="4954588"/>
              <a:ext cx="509587" cy="5000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latin typeface="+mn-lt"/>
              </a:endParaRPr>
            </a:p>
          </p:txBody>
        </p:sp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FE8D5446-C84D-4FD5-B04F-7AE2FC18D0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438" y="4970463"/>
              <a:ext cx="485775" cy="484187"/>
            </a:xfrm>
            <a:custGeom>
              <a:avLst/>
              <a:gdLst>
                <a:gd name="T0" fmla="*/ 333 w 667"/>
                <a:gd name="T1" fmla="*/ 0 h 667"/>
                <a:gd name="T2" fmla="*/ 333 w 667"/>
                <a:gd name="T3" fmla="*/ 0 h 667"/>
                <a:gd name="T4" fmla="*/ 0 w 667"/>
                <a:gd name="T5" fmla="*/ 334 h 667"/>
                <a:gd name="T6" fmla="*/ 334 w 667"/>
                <a:gd name="T7" fmla="*/ 666 h 667"/>
                <a:gd name="T8" fmla="*/ 667 w 667"/>
                <a:gd name="T9" fmla="*/ 333 h 667"/>
                <a:gd name="T10" fmla="*/ 333 w 667"/>
                <a:gd name="T11" fmla="*/ 0 h 667"/>
                <a:gd name="T12" fmla="*/ 333 w 667"/>
                <a:gd name="T13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7" h="667">
                  <a:moveTo>
                    <a:pt x="333" y="0"/>
                  </a:moveTo>
                  <a:lnTo>
                    <a:pt x="333" y="0"/>
                  </a:lnTo>
                  <a:cubicBezTo>
                    <a:pt x="148" y="0"/>
                    <a:pt x="0" y="149"/>
                    <a:pt x="0" y="334"/>
                  </a:cubicBezTo>
                  <a:cubicBezTo>
                    <a:pt x="1" y="519"/>
                    <a:pt x="149" y="667"/>
                    <a:pt x="334" y="666"/>
                  </a:cubicBezTo>
                  <a:cubicBezTo>
                    <a:pt x="520" y="666"/>
                    <a:pt x="667" y="518"/>
                    <a:pt x="667" y="333"/>
                  </a:cubicBezTo>
                  <a:cubicBezTo>
                    <a:pt x="667" y="147"/>
                    <a:pt x="518" y="0"/>
                    <a:pt x="333" y="0"/>
                  </a:cubicBezTo>
                  <a:lnTo>
                    <a:pt x="333" y="0"/>
                  </a:lnTo>
                  <a:close/>
                </a:path>
              </a:pathLst>
            </a:custGeom>
            <a:noFill/>
            <a:ln w="14288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latin typeface="+mn-lt"/>
              </a:endParaRPr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554EE20E-F7F2-4AB6-BB40-B1B755612A2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10" y="4970463"/>
              <a:ext cx="244204" cy="241300"/>
            </a:xfrm>
            <a:custGeom>
              <a:avLst/>
              <a:gdLst>
                <a:gd name="T0" fmla="*/ 345 w 368"/>
                <a:gd name="T1" fmla="*/ 362 h 362"/>
                <a:gd name="T2" fmla="*/ 345 w 368"/>
                <a:gd name="T3" fmla="*/ 362 h 362"/>
                <a:gd name="T4" fmla="*/ 367 w 368"/>
                <a:gd name="T5" fmla="*/ 339 h 362"/>
                <a:gd name="T6" fmla="*/ 24 w 368"/>
                <a:gd name="T7" fmla="*/ 0 h 362"/>
                <a:gd name="T8" fmla="*/ 0 w 368"/>
                <a:gd name="T9" fmla="*/ 22 h 362"/>
                <a:gd name="T10" fmla="*/ 0 w 368"/>
                <a:gd name="T11" fmla="*/ 362 h 362"/>
                <a:gd name="T12" fmla="*/ 345 w 368"/>
                <a:gd name="T13" fmla="*/ 362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8" h="362">
                  <a:moveTo>
                    <a:pt x="345" y="362"/>
                  </a:moveTo>
                  <a:lnTo>
                    <a:pt x="345" y="362"/>
                  </a:lnTo>
                  <a:cubicBezTo>
                    <a:pt x="358" y="362"/>
                    <a:pt x="368" y="351"/>
                    <a:pt x="367" y="339"/>
                  </a:cubicBezTo>
                  <a:cubicBezTo>
                    <a:pt x="355" y="154"/>
                    <a:pt x="208" y="9"/>
                    <a:pt x="24" y="0"/>
                  </a:cubicBezTo>
                  <a:cubicBezTo>
                    <a:pt x="11" y="0"/>
                    <a:pt x="0" y="9"/>
                    <a:pt x="0" y="22"/>
                  </a:cubicBezTo>
                  <a:lnTo>
                    <a:pt x="0" y="362"/>
                  </a:lnTo>
                  <a:lnTo>
                    <a:pt x="345" y="362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latin typeface="+mn-lt"/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DB2E5077-B5A5-45EF-A31E-23CB22FD0DE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175" y="5208588"/>
              <a:ext cx="192087" cy="160337"/>
            </a:xfrm>
            <a:custGeom>
              <a:avLst/>
              <a:gdLst>
                <a:gd name="T0" fmla="*/ 264 w 264"/>
                <a:gd name="T1" fmla="*/ 0 h 222"/>
                <a:gd name="T2" fmla="*/ 264 w 264"/>
                <a:gd name="T3" fmla="*/ 0 h 222"/>
                <a:gd name="T4" fmla="*/ 0 w 264"/>
                <a:gd name="T5" fmla="*/ 222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4" h="222">
                  <a:moveTo>
                    <a:pt x="264" y="0"/>
                  </a:moveTo>
                  <a:lnTo>
                    <a:pt x="264" y="0"/>
                  </a:lnTo>
                  <a:lnTo>
                    <a:pt x="0" y="222"/>
                  </a:lnTo>
                </a:path>
              </a:pathLst>
            </a:custGeom>
            <a:noFill/>
            <a:ln w="14288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latin typeface="+mn-lt"/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B04B15C4-7DC7-450F-A9BF-FA70AB9D771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263" y="5208588"/>
              <a:ext cx="193675" cy="138112"/>
            </a:xfrm>
            <a:custGeom>
              <a:avLst/>
              <a:gdLst>
                <a:gd name="T0" fmla="*/ 0 w 266"/>
                <a:gd name="T1" fmla="*/ 0 h 191"/>
                <a:gd name="T2" fmla="*/ 0 w 266"/>
                <a:gd name="T3" fmla="*/ 0 h 191"/>
                <a:gd name="T4" fmla="*/ 266 w 266"/>
                <a:gd name="T5" fmla="*/ 191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6" h="191">
                  <a:moveTo>
                    <a:pt x="0" y="0"/>
                  </a:moveTo>
                  <a:lnTo>
                    <a:pt x="0" y="0"/>
                  </a:lnTo>
                  <a:lnTo>
                    <a:pt x="266" y="191"/>
                  </a:lnTo>
                </a:path>
              </a:pathLst>
            </a:custGeom>
            <a:noFill/>
            <a:ln w="14288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latin typeface="+mn-lt"/>
              </a:endParaRPr>
            </a:p>
          </p:txBody>
        </p:sp>
      </p:grpSp>
      <p:sp>
        <p:nvSpPr>
          <p:cNvPr id="30" name="Textfeld 29">
            <a:extLst>
              <a:ext uri="{FF2B5EF4-FFF2-40B4-BE49-F238E27FC236}">
                <a16:creationId xmlns:a16="http://schemas.microsoft.com/office/drawing/2014/main" id="{2AC42D10-FEB5-42ED-8FEF-2B246116259B}"/>
              </a:ext>
            </a:extLst>
          </p:cNvPr>
          <p:cNvSpPr txBox="1"/>
          <p:nvPr userDrawn="1"/>
        </p:nvSpPr>
        <p:spPr>
          <a:xfrm>
            <a:off x="1356103" y="2216366"/>
            <a:ext cx="273630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0" indent="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</a:pPr>
            <a:r>
              <a:rPr lang="de-DE" sz="1050" b="1" i="0" u="none" kern="1200" spc="0" dirty="0">
                <a:solidFill>
                  <a:schemeClr val="accent1"/>
                </a:solidFill>
                <a:latin typeface="+mn-lt"/>
              </a:rPr>
              <a:t>Gründung	Standort</a:t>
            </a:r>
            <a:br>
              <a:rPr lang="de-DE" sz="1050" b="1" i="0" u="none" kern="1200" spc="0" dirty="0">
                <a:solidFill>
                  <a:schemeClr val="tx2">
                    <a:lumMod val="75000"/>
                  </a:schemeClr>
                </a:solidFill>
                <a:latin typeface="+mn-lt"/>
              </a:rPr>
            </a:br>
            <a:r>
              <a:rPr lang="de-DE" sz="1050" b="1" i="0" u="none" kern="1200" spc="0" dirty="0">
                <a:solidFill>
                  <a:schemeClr val="bg1"/>
                </a:solidFill>
                <a:latin typeface="+mn-lt"/>
              </a:rPr>
              <a:t>2014	Frankfurt am Mai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985A6C86-8E89-4E52-8AA2-8167F2AC4C14}"/>
              </a:ext>
            </a:extLst>
          </p:cNvPr>
          <p:cNvSpPr txBox="1"/>
          <p:nvPr userDrawn="1"/>
        </p:nvSpPr>
        <p:spPr>
          <a:xfrm>
            <a:off x="1356103" y="3254753"/>
            <a:ext cx="273630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0" indent="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</a:pPr>
            <a:r>
              <a:rPr lang="de-DE" sz="1050" b="1" i="0" u="none" kern="1200" spc="0" dirty="0">
                <a:solidFill>
                  <a:schemeClr val="accent1"/>
                </a:solidFill>
                <a:latin typeface="+mn-lt"/>
              </a:rPr>
              <a:t>Mitarbeiter</a:t>
            </a:r>
            <a:br>
              <a:rPr lang="de-DE" sz="1050" b="1" i="0" u="none" kern="1200" spc="0" dirty="0">
                <a:solidFill>
                  <a:schemeClr val="accent1"/>
                </a:solidFill>
                <a:latin typeface="+mn-lt"/>
              </a:rPr>
            </a:br>
            <a:r>
              <a:rPr lang="de-DE" sz="1050" b="1" i="0" u="none" kern="1200" spc="0" dirty="0">
                <a:solidFill>
                  <a:schemeClr val="bg1"/>
                </a:solidFill>
                <a:latin typeface="+mn-lt"/>
              </a:rPr>
              <a:t>~ 100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19C589E4-CC19-48F0-B7E6-F3F5875A2E58}"/>
              </a:ext>
            </a:extLst>
          </p:cNvPr>
          <p:cNvSpPr txBox="1"/>
          <p:nvPr userDrawn="1"/>
        </p:nvSpPr>
        <p:spPr>
          <a:xfrm>
            <a:off x="1356103" y="4333084"/>
            <a:ext cx="1906290" cy="4205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0" indent="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</a:pPr>
            <a:r>
              <a:rPr lang="de-DE" sz="1050" b="1" i="0" u="none" kern="1200" spc="0" dirty="0">
                <a:solidFill>
                  <a:schemeClr val="accent1"/>
                </a:solidFill>
                <a:latin typeface="+mn-lt"/>
              </a:rPr>
              <a:t>Erfolgreiche Projekte</a:t>
            </a:r>
            <a:br>
              <a:rPr lang="de-DE" sz="1050" b="1" i="0" u="none" kern="1200" spc="0" dirty="0">
                <a:solidFill>
                  <a:schemeClr val="accent1"/>
                </a:solidFill>
                <a:latin typeface="+mn-lt"/>
              </a:rPr>
            </a:br>
            <a:r>
              <a:rPr lang="de-DE" sz="1050" b="1" i="0" u="none" kern="1200" spc="0" dirty="0">
                <a:solidFill>
                  <a:schemeClr val="bg1"/>
                </a:solidFill>
                <a:latin typeface="+mn-lt"/>
              </a:rPr>
              <a:t>+ 350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2B880BF0-7DA1-451C-9734-2B883A6B3008}"/>
              </a:ext>
            </a:extLst>
          </p:cNvPr>
          <p:cNvSpPr txBox="1"/>
          <p:nvPr userDrawn="1"/>
        </p:nvSpPr>
        <p:spPr>
          <a:xfrm>
            <a:off x="1356103" y="5332413"/>
            <a:ext cx="150797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0" indent="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</a:pPr>
            <a:r>
              <a:rPr lang="de-DE" sz="1050" b="1" i="0" u="none" kern="1200" spc="0" dirty="0">
                <a:solidFill>
                  <a:schemeClr val="accent1"/>
                </a:solidFill>
                <a:latin typeface="+mn-lt"/>
              </a:rPr>
              <a:t>Umsatz</a:t>
            </a:r>
            <a:br>
              <a:rPr lang="de-DE" sz="1050" b="1" i="0" u="none" kern="1200" spc="0" dirty="0">
                <a:solidFill>
                  <a:schemeClr val="accent1"/>
                </a:solidFill>
                <a:latin typeface="+mn-lt"/>
              </a:rPr>
            </a:br>
            <a:r>
              <a:rPr lang="de-DE" sz="1050" b="1" i="0" u="none" kern="1200" spc="0" dirty="0">
                <a:solidFill>
                  <a:schemeClr val="bg1"/>
                </a:solidFill>
                <a:latin typeface="+mn-lt"/>
              </a:rPr>
              <a:t>+ 15 Mio. €</a:t>
            </a:r>
          </a:p>
        </p:txBody>
      </p:sp>
    </p:spTree>
    <p:extLst>
      <p:ext uri="{BB962C8B-B14F-4D97-AF65-F5344CB8AC3E}">
        <p14:creationId xmlns:p14="http://schemas.microsoft.com/office/powerpoint/2010/main" val="13858075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">
            <a:extLst>
              <a:ext uri="{FF2B5EF4-FFF2-40B4-BE49-F238E27FC236}">
                <a16:creationId xmlns:a16="http://schemas.microsoft.com/office/drawing/2014/main" id="{B26A81B5-A800-4AF3-9246-57CE910D3F12}"/>
              </a:ext>
            </a:extLst>
          </p:cNvPr>
          <p:cNvSpPr/>
          <p:nvPr userDrawn="1"/>
        </p:nvSpPr>
        <p:spPr>
          <a:xfrm>
            <a:off x="-5938" y="-18001"/>
            <a:ext cx="4511824" cy="6886888"/>
          </a:xfrm>
          <a:custGeom>
            <a:avLst/>
            <a:gdLst>
              <a:gd name="connsiteX0" fmla="*/ 0 w 4511824"/>
              <a:gd name="connsiteY0" fmla="*/ 0 h 6876001"/>
              <a:gd name="connsiteX1" fmla="*/ 4511824 w 4511824"/>
              <a:gd name="connsiteY1" fmla="*/ 0 h 6876001"/>
              <a:gd name="connsiteX2" fmla="*/ 4511824 w 4511824"/>
              <a:gd name="connsiteY2" fmla="*/ 6876001 h 6876001"/>
              <a:gd name="connsiteX3" fmla="*/ 0 w 4511824"/>
              <a:gd name="connsiteY3" fmla="*/ 6876001 h 6876001"/>
              <a:gd name="connsiteX4" fmla="*/ 0 w 4511824"/>
              <a:gd name="connsiteY4" fmla="*/ 0 h 6876001"/>
              <a:gd name="connsiteX0" fmla="*/ 0 w 4511824"/>
              <a:gd name="connsiteY0" fmla="*/ 0 h 7071944"/>
              <a:gd name="connsiteX1" fmla="*/ 4511824 w 4511824"/>
              <a:gd name="connsiteY1" fmla="*/ 0 h 7071944"/>
              <a:gd name="connsiteX2" fmla="*/ 3401481 w 4511824"/>
              <a:gd name="connsiteY2" fmla="*/ 7071944 h 7071944"/>
              <a:gd name="connsiteX3" fmla="*/ 0 w 4511824"/>
              <a:gd name="connsiteY3" fmla="*/ 6876001 h 7071944"/>
              <a:gd name="connsiteX4" fmla="*/ 0 w 4511824"/>
              <a:gd name="connsiteY4" fmla="*/ 0 h 7071944"/>
              <a:gd name="connsiteX0" fmla="*/ 0 w 4511824"/>
              <a:gd name="connsiteY0" fmla="*/ 0 h 6886887"/>
              <a:gd name="connsiteX1" fmla="*/ 4511824 w 4511824"/>
              <a:gd name="connsiteY1" fmla="*/ 0 h 6886887"/>
              <a:gd name="connsiteX2" fmla="*/ 3140223 w 4511824"/>
              <a:gd name="connsiteY2" fmla="*/ 6886887 h 6886887"/>
              <a:gd name="connsiteX3" fmla="*/ 0 w 4511824"/>
              <a:gd name="connsiteY3" fmla="*/ 6876001 h 6886887"/>
              <a:gd name="connsiteX4" fmla="*/ 0 w 4511824"/>
              <a:gd name="connsiteY4" fmla="*/ 0 h 6886887"/>
              <a:gd name="connsiteX0" fmla="*/ 0 w 4511824"/>
              <a:gd name="connsiteY0" fmla="*/ 0 h 6897773"/>
              <a:gd name="connsiteX1" fmla="*/ 4511824 w 4511824"/>
              <a:gd name="connsiteY1" fmla="*/ 0 h 6897773"/>
              <a:gd name="connsiteX2" fmla="*/ 2868081 w 4511824"/>
              <a:gd name="connsiteY2" fmla="*/ 6897773 h 6897773"/>
              <a:gd name="connsiteX3" fmla="*/ 0 w 4511824"/>
              <a:gd name="connsiteY3" fmla="*/ 6876001 h 6897773"/>
              <a:gd name="connsiteX4" fmla="*/ 0 w 4511824"/>
              <a:gd name="connsiteY4" fmla="*/ 0 h 6897773"/>
              <a:gd name="connsiteX0" fmla="*/ 0 w 4511824"/>
              <a:gd name="connsiteY0" fmla="*/ 0 h 6886888"/>
              <a:gd name="connsiteX1" fmla="*/ 4511824 w 4511824"/>
              <a:gd name="connsiteY1" fmla="*/ 0 h 6886888"/>
              <a:gd name="connsiteX2" fmla="*/ 2998709 w 4511824"/>
              <a:gd name="connsiteY2" fmla="*/ 6886888 h 6886888"/>
              <a:gd name="connsiteX3" fmla="*/ 0 w 4511824"/>
              <a:gd name="connsiteY3" fmla="*/ 6876001 h 6886888"/>
              <a:gd name="connsiteX4" fmla="*/ 0 w 4511824"/>
              <a:gd name="connsiteY4" fmla="*/ 0 h 6886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11824" h="6886888">
                <a:moveTo>
                  <a:pt x="0" y="0"/>
                </a:moveTo>
                <a:lnTo>
                  <a:pt x="4511824" y="0"/>
                </a:lnTo>
                <a:lnTo>
                  <a:pt x="2998709" y="6886888"/>
                </a:lnTo>
                <a:lnTo>
                  <a:pt x="0" y="6876001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>
              <a:latin typeface="+mn-lt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9D31BE5C-F53E-47AF-903F-0DF603DF29D2}"/>
              </a:ext>
            </a:extLst>
          </p:cNvPr>
          <p:cNvSpPr txBox="1"/>
          <p:nvPr userDrawn="1"/>
        </p:nvSpPr>
        <p:spPr>
          <a:xfrm>
            <a:off x="494705" y="501555"/>
            <a:ext cx="3979567" cy="550958"/>
          </a:xfrm>
          <a:prstGeom prst="rect">
            <a:avLst/>
          </a:prstGeom>
          <a:noFill/>
        </p:spPr>
        <p:txBody>
          <a:bodyPr vert="horz" wrap="square" lIns="0" tIns="45720" rIns="0" bIns="4572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</a:pPr>
            <a:r>
              <a:rPr lang="de-DE" sz="3500" b="0" i="0" u="none" kern="1200" spc="0" dirty="0">
                <a:solidFill>
                  <a:schemeClr val="bg1">
                    <a:lumMod val="100000"/>
                  </a:schemeClr>
                </a:solidFill>
                <a:latin typeface="Montserrat Medium" panose="00000600000000000000" pitchFamily="2" charset="0"/>
              </a:rPr>
              <a:t>At a </a:t>
            </a:r>
            <a:r>
              <a:rPr lang="de-DE" sz="3500" b="0" i="0" u="none" kern="1200" spc="0" dirty="0" err="1">
                <a:solidFill>
                  <a:schemeClr val="bg1">
                    <a:lumMod val="100000"/>
                  </a:schemeClr>
                </a:solidFill>
                <a:latin typeface="Montserrat Medium" panose="00000600000000000000" pitchFamily="2" charset="0"/>
              </a:rPr>
              <a:t>Glance</a:t>
            </a:r>
            <a:endParaRPr lang="de-DE" sz="3500" b="0" i="0" u="none" kern="1200" spc="0" dirty="0">
              <a:solidFill>
                <a:schemeClr val="bg1">
                  <a:lumMod val="100000"/>
                </a:schemeClr>
              </a:solidFill>
              <a:latin typeface="Montserrat Medium" panose="00000600000000000000" pitchFamily="2" charset="0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B6C50640-25CD-4A07-8123-6AFC92892404}"/>
              </a:ext>
            </a:extLst>
          </p:cNvPr>
          <p:cNvSpPr txBox="1"/>
          <p:nvPr userDrawn="1"/>
        </p:nvSpPr>
        <p:spPr>
          <a:xfrm>
            <a:off x="515939" y="359930"/>
            <a:ext cx="3979567" cy="207340"/>
          </a:xfrm>
          <a:prstGeom prst="rect">
            <a:avLst/>
          </a:prstGeom>
          <a:noFill/>
        </p:spPr>
        <p:txBody>
          <a:bodyPr vert="horz" wrap="square" lIns="0" tIns="45720" rIns="0" bIns="4572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</a:pPr>
            <a:r>
              <a:rPr lang="de-DE" sz="1400" b="0" i="0" u="none" kern="1200" spc="0" dirty="0">
                <a:solidFill>
                  <a:schemeClr val="tx2">
                    <a:lumMod val="75000"/>
                  </a:schemeClr>
                </a:solidFill>
                <a:latin typeface="Montserrat Medium" panose="00000600000000000000" pitchFamily="2" charset="0"/>
              </a:rPr>
              <a:t>ÜBER ADVISORI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0611ED67-C01B-40F3-B3B7-A2FD76559B1C}"/>
              </a:ext>
            </a:extLst>
          </p:cNvPr>
          <p:cNvSpPr txBox="1"/>
          <p:nvPr userDrawn="1"/>
        </p:nvSpPr>
        <p:spPr>
          <a:xfrm>
            <a:off x="4295800" y="501555"/>
            <a:ext cx="2736304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de-DE" sz="3500" b="0" i="0" u="none" kern="1200" spc="0" dirty="0">
                <a:solidFill>
                  <a:schemeClr val="tx1">
                    <a:lumMod val="100000"/>
                  </a:schemeClr>
                </a:solidFill>
                <a:latin typeface="Montserrat Medium" panose="00000600000000000000" pitchFamily="2" charset="0"/>
              </a:rPr>
              <a:t>Partner</a:t>
            </a:r>
            <a:br>
              <a:rPr lang="de-DE" sz="3500" b="0" i="0" u="none" kern="1200" spc="0" dirty="0">
                <a:solidFill>
                  <a:schemeClr val="tx1">
                    <a:lumMod val="100000"/>
                  </a:schemeClr>
                </a:solidFill>
                <a:latin typeface="Montserrat Medium" panose="00000600000000000000" pitchFamily="2" charset="0"/>
              </a:rPr>
            </a:br>
            <a:r>
              <a:rPr lang="de-DE" sz="3500" b="0" i="0" u="none" kern="1200" spc="0" dirty="0">
                <a:solidFill>
                  <a:schemeClr val="tx1">
                    <a:lumMod val="100000"/>
                  </a:schemeClr>
                </a:solidFill>
                <a:latin typeface="Montserrat Medium" panose="00000600000000000000" pitchFamily="2" charset="0"/>
              </a:rPr>
              <a:t>&amp;Verbände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425848A-7A0C-410D-A179-60558E528F05}"/>
              </a:ext>
            </a:extLst>
          </p:cNvPr>
          <p:cNvSpPr txBox="1"/>
          <p:nvPr userDrawn="1"/>
        </p:nvSpPr>
        <p:spPr>
          <a:xfrm>
            <a:off x="7326074" y="501555"/>
            <a:ext cx="4371222" cy="1149921"/>
          </a:xfrm>
          <a:prstGeom prst="rect">
            <a:avLst/>
          </a:prstGeom>
          <a:noFill/>
        </p:spPr>
        <p:txBody>
          <a:bodyPr vert="horz" wrap="square" lIns="72000" tIns="72000" rIns="72000" bIns="0" rtlCol="0" anchor="ctr" anchorCtr="0">
            <a:spAutoFit/>
          </a:bodyPr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de-DE" sz="3500" b="0" i="0" u="none" kern="1200" spc="0" dirty="0">
                <a:solidFill>
                  <a:schemeClr val="tx1">
                    <a:lumMod val="100000"/>
                  </a:schemeClr>
                </a:solidFill>
                <a:latin typeface="Montserrat Medium" panose="00000600000000000000" pitchFamily="2" charset="0"/>
              </a:rPr>
              <a:t>Ausgewählte Kunden</a:t>
            </a:r>
          </a:p>
        </p:txBody>
      </p:sp>
      <p:cxnSp>
        <p:nvCxnSpPr>
          <p:cNvPr id="16" name="Gerade Verbindung 79">
            <a:extLst>
              <a:ext uri="{FF2B5EF4-FFF2-40B4-BE49-F238E27FC236}">
                <a16:creationId xmlns:a16="http://schemas.microsoft.com/office/drawing/2014/main" id="{7F0B4943-19E2-41CE-8655-2EF8420279A1}"/>
              </a:ext>
            </a:extLst>
          </p:cNvPr>
          <p:cNvCxnSpPr>
            <a:cxnSpLocks/>
          </p:cNvCxnSpPr>
          <p:nvPr userDrawn="1"/>
        </p:nvCxnSpPr>
        <p:spPr>
          <a:xfrm flipH="1">
            <a:off x="5956819" y="697424"/>
            <a:ext cx="1280973" cy="555087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Grafik 17">
            <a:extLst>
              <a:ext uri="{FF2B5EF4-FFF2-40B4-BE49-F238E27FC236}">
                <a16:creationId xmlns:a16="http://schemas.microsoft.com/office/drawing/2014/main" id="{57F90331-1EE7-40BC-A26B-79807BFFE5D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3901" y="2144029"/>
            <a:ext cx="288383" cy="469957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D212C007-AFDD-4B6F-835D-CC645162863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0811" y="3177602"/>
            <a:ext cx="523362" cy="555405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B853BB24-B4BC-459B-99DA-4F1B18FCE81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90284" y="4224475"/>
            <a:ext cx="715617" cy="491319"/>
          </a:xfrm>
          <a:prstGeom prst="rect">
            <a:avLst/>
          </a:prstGeom>
        </p:spPr>
      </p:pic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68EA575D-F6CB-4F8A-9517-4798B87F474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0811" y="5332413"/>
            <a:ext cx="405050" cy="397478"/>
            <a:chOff x="573088" y="4954588"/>
            <a:chExt cx="509587" cy="500062"/>
          </a:xfrm>
        </p:grpSpPr>
        <p:sp>
          <p:nvSpPr>
            <p:cNvPr id="24" name="AutoShape 3">
              <a:extLst>
                <a:ext uri="{FF2B5EF4-FFF2-40B4-BE49-F238E27FC236}">
                  <a16:creationId xmlns:a16="http://schemas.microsoft.com/office/drawing/2014/main" id="{997DEE7A-7619-4D2D-94EC-13B19C7B7FF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3088" y="4954588"/>
              <a:ext cx="509587" cy="5000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latin typeface="+mn-lt"/>
              </a:endParaRPr>
            </a:p>
          </p:txBody>
        </p:sp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FE8D5446-C84D-4FD5-B04F-7AE2FC18D0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438" y="4970463"/>
              <a:ext cx="485775" cy="484187"/>
            </a:xfrm>
            <a:custGeom>
              <a:avLst/>
              <a:gdLst>
                <a:gd name="T0" fmla="*/ 333 w 667"/>
                <a:gd name="T1" fmla="*/ 0 h 667"/>
                <a:gd name="T2" fmla="*/ 333 w 667"/>
                <a:gd name="T3" fmla="*/ 0 h 667"/>
                <a:gd name="T4" fmla="*/ 0 w 667"/>
                <a:gd name="T5" fmla="*/ 334 h 667"/>
                <a:gd name="T6" fmla="*/ 334 w 667"/>
                <a:gd name="T7" fmla="*/ 666 h 667"/>
                <a:gd name="T8" fmla="*/ 667 w 667"/>
                <a:gd name="T9" fmla="*/ 333 h 667"/>
                <a:gd name="T10" fmla="*/ 333 w 667"/>
                <a:gd name="T11" fmla="*/ 0 h 667"/>
                <a:gd name="T12" fmla="*/ 333 w 667"/>
                <a:gd name="T13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7" h="667">
                  <a:moveTo>
                    <a:pt x="333" y="0"/>
                  </a:moveTo>
                  <a:lnTo>
                    <a:pt x="333" y="0"/>
                  </a:lnTo>
                  <a:cubicBezTo>
                    <a:pt x="148" y="0"/>
                    <a:pt x="0" y="149"/>
                    <a:pt x="0" y="334"/>
                  </a:cubicBezTo>
                  <a:cubicBezTo>
                    <a:pt x="1" y="519"/>
                    <a:pt x="149" y="667"/>
                    <a:pt x="334" y="666"/>
                  </a:cubicBezTo>
                  <a:cubicBezTo>
                    <a:pt x="520" y="666"/>
                    <a:pt x="667" y="518"/>
                    <a:pt x="667" y="333"/>
                  </a:cubicBezTo>
                  <a:cubicBezTo>
                    <a:pt x="667" y="147"/>
                    <a:pt x="518" y="0"/>
                    <a:pt x="333" y="0"/>
                  </a:cubicBezTo>
                  <a:lnTo>
                    <a:pt x="333" y="0"/>
                  </a:lnTo>
                  <a:close/>
                </a:path>
              </a:pathLst>
            </a:custGeom>
            <a:noFill/>
            <a:ln w="14288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latin typeface="+mn-lt"/>
              </a:endParaRPr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554EE20E-F7F2-4AB6-BB40-B1B755612A2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010" y="4970463"/>
              <a:ext cx="244204" cy="241300"/>
            </a:xfrm>
            <a:custGeom>
              <a:avLst/>
              <a:gdLst>
                <a:gd name="T0" fmla="*/ 345 w 368"/>
                <a:gd name="T1" fmla="*/ 362 h 362"/>
                <a:gd name="T2" fmla="*/ 345 w 368"/>
                <a:gd name="T3" fmla="*/ 362 h 362"/>
                <a:gd name="T4" fmla="*/ 367 w 368"/>
                <a:gd name="T5" fmla="*/ 339 h 362"/>
                <a:gd name="T6" fmla="*/ 24 w 368"/>
                <a:gd name="T7" fmla="*/ 0 h 362"/>
                <a:gd name="T8" fmla="*/ 0 w 368"/>
                <a:gd name="T9" fmla="*/ 22 h 362"/>
                <a:gd name="T10" fmla="*/ 0 w 368"/>
                <a:gd name="T11" fmla="*/ 362 h 362"/>
                <a:gd name="T12" fmla="*/ 345 w 368"/>
                <a:gd name="T13" fmla="*/ 362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8" h="362">
                  <a:moveTo>
                    <a:pt x="345" y="362"/>
                  </a:moveTo>
                  <a:lnTo>
                    <a:pt x="345" y="362"/>
                  </a:lnTo>
                  <a:cubicBezTo>
                    <a:pt x="358" y="362"/>
                    <a:pt x="368" y="351"/>
                    <a:pt x="367" y="339"/>
                  </a:cubicBezTo>
                  <a:cubicBezTo>
                    <a:pt x="355" y="154"/>
                    <a:pt x="208" y="9"/>
                    <a:pt x="24" y="0"/>
                  </a:cubicBezTo>
                  <a:cubicBezTo>
                    <a:pt x="11" y="0"/>
                    <a:pt x="0" y="9"/>
                    <a:pt x="0" y="22"/>
                  </a:cubicBezTo>
                  <a:lnTo>
                    <a:pt x="0" y="362"/>
                  </a:lnTo>
                  <a:lnTo>
                    <a:pt x="345" y="362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latin typeface="+mn-lt"/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DB2E5077-B5A5-45EF-A31E-23CB22FD0DE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175" y="5208588"/>
              <a:ext cx="192087" cy="160337"/>
            </a:xfrm>
            <a:custGeom>
              <a:avLst/>
              <a:gdLst>
                <a:gd name="T0" fmla="*/ 264 w 264"/>
                <a:gd name="T1" fmla="*/ 0 h 222"/>
                <a:gd name="T2" fmla="*/ 264 w 264"/>
                <a:gd name="T3" fmla="*/ 0 h 222"/>
                <a:gd name="T4" fmla="*/ 0 w 264"/>
                <a:gd name="T5" fmla="*/ 222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4" h="222">
                  <a:moveTo>
                    <a:pt x="264" y="0"/>
                  </a:moveTo>
                  <a:lnTo>
                    <a:pt x="264" y="0"/>
                  </a:lnTo>
                  <a:lnTo>
                    <a:pt x="0" y="222"/>
                  </a:lnTo>
                </a:path>
              </a:pathLst>
            </a:custGeom>
            <a:noFill/>
            <a:ln w="14288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latin typeface="+mn-lt"/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B04B15C4-7DC7-450F-A9BF-FA70AB9D771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263" y="5208588"/>
              <a:ext cx="193675" cy="138112"/>
            </a:xfrm>
            <a:custGeom>
              <a:avLst/>
              <a:gdLst>
                <a:gd name="T0" fmla="*/ 0 w 266"/>
                <a:gd name="T1" fmla="*/ 0 h 191"/>
                <a:gd name="T2" fmla="*/ 0 w 266"/>
                <a:gd name="T3" fmla="*/ 0 h 191"/>
                <a:gd name="T4" fmla="*/ 266 w 266"/>
                <a:gd name="T5" fmla="*/ 191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6" h="191">
                  <a:moveTo>
                    <a:pt x="0" y="0"/>
                  </a:moveTo>
                  <a:lnTo>
                    <a:pt x="0" y="0"/>
                  </a:lnTo>
                  <a:lnTo>
                    <a:pt x="266" y="191"/>
                  </a:lnTo>
                </a:path>
              </a:pathLst>
            </a:custGeom>
            <a:noFill/>
            <a:ln w="14288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latin typeface="+mn-lt"/>
              </a:endParaRPr>
            </a:p>
          </p:txBody>
        </p:sp>
      </p:grpSp>
      <p:sp>
        <p:nvSpPr>
          <p:cNvPr id="30" name="Textfeld 29">
            <a:extLst>
              <a:ext uri="{FF2B5EF4-FFF2-40B4-BE49-F238E27FC236}">
                <a16:creationId xmlns:a16="http://schemas.microsoft.com/office/drawing/2014/main" id="{2AC42D10-FEB5-42ED-8FEF-2B246116259B}"/>
              </a:ext>
            </a:extLst>
          </p:cNvPr>
          <p:cNvSpPr txBox="1"/>
          <p:nvPr userDrawn="1"/>
        </p:nvSpPr>
        <p:spPr>
          <a:xfrm>
            <a:off x="1356103" y="2216366"/>
            <a:ext cx="273630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0" indent="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</a:pPr>
            <a:r>
              <a:rPr lang="de-DE" sz="1050" b="1" i="0" u="none" kern="1200" spc="0" dirty="0">
                <a:solidFill>
                  <a:schemeClr val="accent1"/>
                </a:solidFill>
                <a:latin typeface="+mn-lt"/>
              </a:rPr>
              <a:t>Gründung	Standort</a:t>
            </a:r>
            <a:br>
              <a:rPr lang="de-DE" sz="1050" b="1" i="0" u="none" kern="1200" spc="0" dirty="0">
                <a:solidFill>
                  <a:schemeClr val="tx2">
                    <a:lumMod val="75000"/>
                  </a:schemeClr>
                </a:solidFill>
                <a:latin typeface="+mn-lt"/>
              </a:rPr>
            </a:br>
            <a:r>
              <a:rPr lang="de-DE" sz="1050" b="1" i="0" u="none" kern="1200" spc="0" dirty="0">
                <a:solidFill>
                  <a:schemeClr val="bg1"/>
                </a:solidFill>
                <a:latin typeface="+mn-lt"/>
              </a:rPr>
              <a:t>2014	Frankfurt am Mai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985A6C86-8E89-4E52-8AA2-8167F2AC4C14}"/>
              </a:ext>
            </a:extLst>
          </p:cNvPr>
          <p:cNvSpPr txBox="1"/>
          <p:nvPr userDrawn="1"/>
        </p:nvSpPr>
        <p:spPr>
          <a:xfrm>
            <a:off x="1356103" y="3254753"/>
            <a:ext cx="273630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0" indent="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</a:pPr>
            <a:r>
              <a:rPr lang="de-DE" sz="1050" b="1" i="0" u="none" kern="1200" spc="0" dirty="0">
                <a:solidFill>
                  <a:schemeClr val="accent1"/>
                </a:solidFill>
                <a:latin typeface="+mn-lt"/>
              </a:rPr>
              <a:t>Mitarbeiter</a:t>
            </a:r>
            <a:br>
              <a:rPr lang="de-DE" sz="1050" b="1" i="0" u="none" kern="1200" spc="0" dirty="0">
                <a:solidFill>
                  <a:schemeClr val="accent1"/>
                </a:solidFill>
                <a:latin typeface="+mn-lt"/>
              </a:rPr>
            </a:br>
            <a:r>
              <a:rPr lang="de-DE" sz="1050" b="1" i="0" u="none" kern="1200" spc="0" dirty="0">
                <a:solidFill>
                  <a:schemeClr val="bg1"/>
                </a:solidFill>
                <a:latin typeface="+mn-lt"/>
              </a:rPr>
              <a:t>~ 100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19C589E4-CC19-48F0-B7E6-F3F5875A2E58}"/>
              </a:ext>
            </a:extLst>
          </p:cNvPr>
          <p:cNvSpPr txBox="1"/>
          <p:nvPr userDrawn="1"/>
        </p:nvSpPr>
        <p:spPr>
          <a:xfrm>
            <a:off x="1356103" y="4333084"/>
            <a:ext cx="1906290" cy="4205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0" indent="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</a:pPr>
            <a:r>
              <a:rPr lang="de-DE" sz="1050" b="1" i="0" u="none" kern="1200" spc="0" dirty="0">
                <a:solidFill>
                  <a:schemeClr val="accent1"/>
                </a:solidFill>
                <a:latin typeface="+mn-lt"/>
              </a:rPr>
              <a:t>Erfolgreiche Projekte</a:t>
            </a:r>
            <a:br>
              <a:rPr lang="de-DE" sz="1050" b="1" i="0" u="none" kern="1200" spc="0" dirty="0">
                <a:solidFill>
                  <a:schemeClr val="accent1"/>
                </a:solidFill>
                <a:latin typeface="+mn-lt"/>
              </a:rPr>
            </a:br>
            <a:r>
              <a:rPr lang="de-DE" sz="1050" b="1" i="0" u="none" kern="1200" spc="0" dirty="0">
                <a:solidFill>
                  <a:schemeClr val="bg1"/>
                </a:solidFill>
                <a:latin typeface="+mn-lt"/>
              </a:rPr>
              <a:t>+ 350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2B880BF0-7DA1-451C-9734-2B883A6B3008}"/>
              </a:ext>
            </a:extLst>
          </p:cNvPr>
          <p:cNvSpPr txBox="1"/>
          <p:nvPr userDrawn="1"/>
        </p:nvSpPr>
        <p:spPr>
          <a:xfrm>
            <a:off x="1356103" y="5332413"/>
            <a:ext cx="150797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0" indent="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</a:pPr>
            <a:r>
              <a:rPr lang="de-DE" sz="1050" b="1" i="0" u="none" kern="1200" spc="0" dirty="0">
                <a:solidFill>
                  <a:schemeClr val="accent1"/>
                </a:solidFill>
                <a:latin typeface="+mn-lt"/>
              </a:rPr>
              <a:t>Umsatz</a:t>
            </a:r>
            <a:br>
              <a:rPr lang="de-DE" sz="1050" b="1" i="0" u="none" kern="1200" spc="0" dirty="0">
                <a:solidFill>
                  <a:schemeClr val="accent1"/>
                </a:solidFill>
                <a:latin typeface="+mn-lt"/>
              </a:rPr>
            </a:br>
            <a:r>
              <a:rPr lang="de-DE" sz="1050" b="1" i="0" u="none" kern="1200" spc="0" dirty="0">
                <a:solidFill>
                  <a:schemeClr val="bg1"/>
                </a:solidFill>
                <a:latin typeface="+mn-lt"/>
              </a:rPr>
              <a:t>+ 15 Mio. €</a:t>
            </a:r>
          </a:p>
        </p:txBody>
      </p:sp>
      <p:pic>
        <p:nvPicPr>
          <p:cNvPr id="6" name="Picture 8">
            <a:extLst>
              <a:ext uri="{FF2B5EF4-FFF2-40B4-BE49-F238E27FC236}">
                <a16:creationId xmlns:a16="http://schemas.microsoft.com/office/drawing/2014/main" id="{71D42C86-45C3-4501-96F4-6451C91E37C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361039" y="1797530"/>
            <a:ext cx="3253198" cy="4427285"/>
          </a:xfrm>
          <a:prstGeom prst="rect">
            <a:avLst/>
          </a:prstGeom>
        </p:spPr>
      </p:pic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36B5B094-F82C-4BAF-A8F2-C4D0D9D8BB5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464152" y="2204864"/>
            <a:ext cx="1045471" cy="814387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1" name="Bildplatzhalter 9">
            <a:extLst>
              <a:ext uri="{FF2B5EF4-FFF2-40B4-BE49-F238E27FC236}">
                <a16:creationId xmlns:a16="http://schemas.microsoft.com/office/drawing/2014/main" id="{C63CAF82-3435-411B-A749-A237C1E4713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935261" y="2204864"/>
            <a:ext cx="1045471" cy="814387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2" name="Bildplatzhalter 9">
            <a:extLst>
              <a:ext uri="{FF2B5EF4-FFF2-40B4-BE49-F238E27FC236}">
                <a16:creationId xmlns:a16="http://schemas.microsoft.com/office/drawing/2014/main" id="{C32ECEF1-4404-4182-A4C1-97CE417692C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379121" y="2204864"/>
            <a:ext cx="1045471" cy="814387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5" name="Bildplatzhalter 9">
            <a:extLst>
              <a:ext uri="{FF2B5EF4-FFF2-40B4-BE49-F238E27FC236}">
                <a16:creationId xmlns:a16="http://schemas.microsoft.com/office/drawing/2014/main" id="{2A2777F1-2067-4ED3-81D8-DE0ED9D7883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960096" y="3516191"/>
            <a:ext cx="1045471" cy="814387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6" name="Bildplatzhalter 9">
            <a:extLst>
              <a:ext uri="{FF2B5EF4-FFF2-40B4-BE49-F238E27FC236}">
                <a16:creationId xmlns:a16="http://schemas.microsoft.com/office/drawing/2014/main" id="{1546A436-6270-4FFD-AE7C-DE0EDF11996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12526" y="3516191"/>
            <a:ext cx="1045471" cy="814387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7" name="Bildplatzhalter 9">
            <a:extLst>
              <a:ext uri="{FF2B5EF4-FFF2-40B4-BE49-F238E27FC236}">
                <a16:creationId xmlns:a16="http://schemas.microsoft.com/office/drawing/2014/main" id="{3B4B697E-9B6D-4C4F-B029-468DC01D614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875065" y="3516191"/>
            <a:ext cx="1045471" cy="814387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8" name="Bildplatzhalter 9">
            <a:extLst>
              <a:ext uri="{FF2B5EF4-FFF2-40B4-BE49-F238E27FC236}">
                <a16:creationId xmlns:a16="http://schemas.microsoft.com/office/drawing/2014/main" id="{E7742B23-B11E-4B94-8625-60642F6508C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456040" y="4846861"/>
            <a:ext cx="1045471" cy="814387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9" name="Bildplatzhalter 9">
            <a:extLst>
              <a:ext uri="{FF2B5EF4-FFF2-40B4-BE49-F238E27FC236}">
                <a16:creationId xmlns:a16="http://schemas.microsoft.com/office/drawing/2014/main" id="{36D3BEA2-6221-4EEE-A7A6-950CF37E61F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889790" y="4846861"/>
            <a:ext cx="1045471" cy="814387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0" name="Bildplatzhalter 9">
            <a:extLst>
              <a:ext uri="{FF2B5EF4-FFF2-40B4-BE49-F238E27FC236}">
                <a16:creationId xmlns:a16="http://schemas.microsoft.com/office/drawing/2014/main" id="{53F2EC3A-D895-450D-AB9A-73EEEAA5D10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371009" y="4846861"/>
            <a:ext cx="1045471" cy="814387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5395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A9601036-43A4-47D1-9676-5332CC5692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64695" y="0"/>
            <a:ext cx="7042546" cy="6863938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C62E2C6A-D2E0-4E66-90E8-0FF1E685A8D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192345" y="488374"/>
            <a:ext cx="2376261" cy="564362"/>
          </a:xfrm>
          <a:prstGeom prst="rect">
            <a:avLst/>
          </a:prstGeom>
          <a:noFill/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DDF1160C-49EE-400B-A1D3-2CCAD9E66662}"/>
              </a:ext>
            </a:extLst>
          </p:cNvPr>
          <p:cNvSpPr txBox="1"/>
          <p:nvPr userDrawn="1"/>
        </p:nvSpPr>
        <p:spPr>
          <a:xfrm>
            <a:off x="479424" y="609709"/>
            <a:ext cx="5616575" cy="5574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3500" dirty="0">
                <a:latin typeface="+mj-lt"/>
              </a:rPr>
              <a:t>Sprechen Sie uns an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0626EE4E-012F-4CAC-AF66-A253F79A0373}"/>
              </a:ext>
            </a:extLst>
          </p:cNvPr>
          <p:cNvSpPr txBox="1"/>
          <p:nvPr userDrawn="1"/>
        </p:nvSpPr>
        <p:spPr>
          <a:xfrm>
            <a:off x="487017" y="345556"/>
            <a:ext cx="5608982" cy="215444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400" b="0" i="0" u="none" kern="1200" spc="0" dirty="0">
                <a:solidFill>
                  <a:schemeClr val="tx2">
                    <a:lumMod val="100000"/>
                  </a:schemeClr>
                </a:solidFill>
                <a:latin typeface="+mj-lt"/>
              </a:rPr>
              <a:t>DANKE FÜR IHRE AUFMERKSAMKEIT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914FCD7B-B661-4BC7-9E83-FC4158864293}"/>
              </a:ext>
            </a:extLst>
          </p:cNvPr>
          <p:cNvSpPr txBox="1"/>
          <p:nvPr userDrawn="1"/>
        </p:nvSpPr>
        <p:spPr>
          <a:xfrm>
            <a:off x="479424" y="1705333"/>
            <a:ext cx="1421446" cy="21505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pPr marL="0" lvl="0" indent="0" algn="l">
              <a:lnSpc>
                <a:spcPct val="150000"/>
              </a:lnSpc>
              <a:spcBef>
                <a:spcPts val="1160"/>
              </a:spcBef>
              <a:spcAft>
                <a:spcPts val="0"/>
              </a:spcAft>
            </a:pPr>
            <a:r>
              <a:rPr lang="de-DE" sz="1050" b="0" i="0" u="none" kern="1200" spc="0" dirty="0">
                <a:solidFill>
                  <a:schemeClr val="tx2">
                    <a:lumMod val="100000"/>
                  </a:schemeClr>
                </a:solidFill>
                <a:latin typeface="+mn-lt"/>
              </a:rPr>
              <a:t>Ihre Kontaktperson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8045A3E-3BF0-40E9-B777-C127B72B4C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4" y="2026016"/>
            <a:ext cx="4116179" cy="244848"/>
          </a:xfrm>
          <a:prstGeom prst="rect">
            <a:avLst/>
          </a:prstGeom>
        </p:spPr>
        <p:txBody>
          <a:bodyPr vert="horz" wrap="square"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400" b="1" i="0" u="none" kern="1200" spc="0">
                <a:solidFill>
                  <a:schemeClr val="tx1">
                    <a:lumMod val="100000"/>
                  </a:schemeClr>
                </a:solidFill>
                <a:latin typeface="+mn-lt"/>
              </a:defRPr>
            </a:lvl1pPr>
            <a:lvl4pPr marL="360000" indent="0">
              <a:buNone/>
              <a:defRPr/>
            </a:lvl4pPr>
            <a:lvl5pPr marL="540000" indent="0">
              <a:buNone/>
              <a:defRPr/>
            </a:lvl5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D8128EEC-D910-4111-B51C-63833A92DAA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79424" y="2376488"/>
            <a:ext cx="1404938" cy="1584325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C12F6453-E455-4224-AD44-B946839FC264}"/>
              </a:ext>
            </a:extLst>
          </p:cNvPr>
          <p:cNvSpPr txBox="1"/>
          <p:nvPr userDrawn="1"/>
        </p:nvSpPr>
        <p:spPr>
          <a:xfrm>
            <a:off x="479424" y="4200906"/>
            <a:ext cx="514189" cy="7292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0" indent="0" algn="l">
              <a:lnSpc>
                <a:spcPct val="122000"/>
              </a:lnSpc>
              <a:spcBef>
                <a:spcPts val="560"/>
              </a:spcBef>
              <a:spcAft>
                <a:spcPts val="0"/>
              </a:spcAft>
            </a:pPr>
            <a:r>
              <a:rPr lang="de-DE" sz="1050" b="0" i="0" u="none" kern="1200" spc="0" dirty="0">
                <a:solidFill>
                  <a:schemeClr val="tx2">
                    <a:lumMod val="100000"/>
                  </a:schemeClr>
                </a:solidFill>
                <a:latin typeface="+mn-lt"/>
              </a:rPr>
              <a:t>Tel.</a:t>
            </a:r>
          </a:p>
          <a:p>
            <a:pPr marL="0" lvl="0" indent="0" algn="l">
              <a:lnSpc>
                <a:spcPct val="122000"/>
              </a:lnSpc>
              <a:spcBef>
                <a:spcPts val="560"/>
              </a:spcBef>
              <a:spcAft>
                <a:spcPts val="0"/>
              </a:spcAft>
            </a:pPr>
            <a:r>
              <a:rPr lang="de-DE" sz="1050" b="0" i="0" u="none" kern="1200" spc="0" dirty="0">
                <a:solidFill>
                  <a:schemeClr val="tx2">
                    <a:lumMod val="100000"/>
                  </a:schemeClr>
                </a:solidFill>
                <a:latin typeface="+mn-lt"/>
              </a:rPr>
              <a:t>Handy</a:t>
            </a:r>
          </a:p>
          <a:p>
            <a:pPr marL="0" lvl="0" indent="0" algn="l">
              <a:lnSpc>
                <a:spcPct val="122000"/>
              </a:lnSpc>
              <a:spcBef>
                <a:spcPts val="560"/>
              </a:spcBef>
              <a:spcAft>
                <a:spcPts val="0"/>
              </a:spcAft>
            </a:pPr>
            <a:r>
              <a:rPr lang="de-DE" sz="1050" b="0" i="0" u="none" kern="1200" spc="0" dirty="0">
                <a:solidFill>
                  <a:schemeClr val="tx2">
                    <a:lumMod val="100000"/>
                  </a:schemeClr>
                </a:solidFill>
                <a:latin typeface="+mn-lt"/>
              </a:rPr>
              <a:t>E-Mail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37EC505A-04B7-4CBC-9217-0022709EB5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0766" y="4204185"/>
            <a:ext cx="4132053" cy="177676"/>
          </a:xfrm>
          <a:prstGeom prst="rect">
            <a:avLst/>
          </a:prstGeom>
        </p:spPr>
        <p:txBody>
          <a:bodyPr vert="horz" wrap="square" lIns="0" tIns="0" rIns="0" bIns="0" anchor="t" anchorCtr="0">
            <a:normAutofit/>
          </a:bodyPr>
          <a:lstStyle>
            <a:lvl1pPr marL="0" indent="0" algn="l">
              <a:lnSpc>
                <a:spcPct val="122000"/>
              </a:lnSpc>
              <a:spcBef>
                <a:spcPts val="560"/>
              </a:spcBef>
              <a:spcAft>
                <a:spcPts val="0"/>
              </a:spcAft>
              <a:defRPr sz="1050" b="0" i="0" u="none" kern="1200" spc="0">
                <a:solidFill>
                  <a:schemeClr val="tx1">
                    <a:lumMod val="5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+49 69 913 113-0</a:t>
            </a:r>
          </a:p>
        </p:txBody>
      </p:sp>
      <p:sp>
        <p:nvSpPr>
          <p:cNvPr id="22" name="Textplatzhalter 20">
            <a:extLst>
              <a:ext uri="{FF2B5EF4-FFF2-40B4-BE49-F238E27FC236}">
                <a16:creationId xmlns:a16="http://schemas.microsoft.com/office/drawing/2014/main" id="{163E80B1-6DF4-4F86-BD5A-164782939A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20766" y="4476688"/>
            <a:ext cx="4132053" cy="177676"/>
          </a:xfrm>
          <a:prstGeom prst="rect">
            <a:avLst/>
          </a:prstGeom>
        </p:spPr>
        <p:txBody>
          <a:bodyPr vert="horz" wrap="square" lIns="0" tIns="0" rIns="0" bIns="0" anchor="t" anchorCtr="0">
            <a:normAutofit/>
          </a:bodyPr>
          <a:lstStyle>
            <a:lvl1pPr marL="0" indent="0" algn="l">
              <a:lnSpc>
                <a:spcPct val="122000"/>
              </a:lnSpc>
              <a:spcBef>
                <a:spcPts val="560"/>
              </a:spcBef>
              <a:spcAft>
                <a:spcPts val="0"/>
              </a:spcAft>
              <a:defRPr sz="1050" b="0" i="0" u="none" kern="1200" spc="0">
                <a:solidFill>
                  <a:schemeClr val="tx1">
                    <a:lumMod val="5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+49 123 456 789</a:t>
            </a:r>
          </a:p>
        </p:txBody>
      </p:sp>
      <p:sp>
        <p:nvSpPr>
          <p:cNvPr id="23" name="Textplatzhalter 20">
            <a:extLst>
              <a:ext uri="{FF2B5EF4-FFF2-40B4-BE49-F238E27FC236}">
                <a16:creationId xmlns:a16="http://schemas.microsoft.com/office/drawing/2014/main" id="{A0B17599-68CE-4BF9-925B-C222A4D3BB9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20766" y="4743135"/>
            <a:ext cx="4132053" cy="188836"/>
          </a:xfrm>
          <a:prstGeom prst="rect">
            <a:avLst/>
          </a:prstGeom>
        </p:spPr>
        <p:txBody>
          <a:bodyPr vert="horz" wrap="square" lIns="0" tIns="0" rIns="0" bIns="0" anchor="t" anchorCtr="0">
            <a:normAutofit/>
          </a:bodyPr>
          <a:lstStyle>
            <a:lvl1pPr marL="0" indent="0" algn="l">
              <a:lnSpc>
                <a:spcPct val="122000"/>
              </a:lnSpc>
              <a:spcBef>
                <a:spcPts val="560"/>
              </a:spcBef>
              <a:spcAft>
                <a:spcPts val="0"/>
              </a:spcAft>
              <a:defRPr sz="1050" b="0" i="0" u="none" kern="1200" spc="0">
                <a:solidFill>
                  <a:schemeClr val="tx1">
                    <a:lumMod val="5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Vorname.Nachname@advisori.de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74030FCA-342C-4C92-85E7-8F30A25F0B0B}"/>
              </a:ext>
            </a:extLst>
          </p:cNvPr>
          <p:cNvSpPr txBox="1"/>
          <p:nvPr userDrawn="1"/>
        </p:nvSpPr>
        <p:spPr>
          <a:xfrm>
            <a:off x="479424" y="5268677"/>
            <a:ext cx="4132053" cy="104650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pPr marL="0" lvl="0" indent="0" algn="l">
              <a:lnSpc>
                <a:spcPct val="122000"/>
              </a:lnSpc>
              <a:spcBef>
                <a:spcPts val="560"/>
              </a:spcBef>
              <a:spcAft>
                <a:spcPts val="0"/>
              </a:spcAft>
            </a:pPr>
            <a:r>
              <a:rPr lang="de-DE" sz="1050" b="0" i="0" u="none" kern="1200" spc="0" dirty="0">
                <a:solidFill>
                  <a:schemeClr val="tx1"/>
                </a:solidFill>
                <a:latin typeface="+mn-lt"/>
              </a:rPr>
              <a:t>ADVISORI FTC GmbH</a:t>
            </a:r>
            <a:br>
              <a:rPr lang="de-DE" sz="1050" b="0" i="0" u="none" kern="1200" spc="0" dirty="0">
                <a:solidFill>
                  <a:schemeClr val="tx1"/>
                </a:solidFill>
                <a:latin typeface="+mn-lt"/>
              </a:rPr>
            </a:br>
            <a:r>
              <a:rPr lang="de-DE" sz="1050" b="0" i="0" u="none" kern="1200" spc="0" dirty="0">
                <a:solidFill>
                  <a:schemeClr val="tx1"/>
                </a:solidFill>
                <a:latin typeface="+mn-lt"/>
              </a:rPr>
              <a:t>Kaiserstraße 44</a:t>
            </a:r>
            <a:br>
              <a:rPr lang="de-DE" sz="1050" b="0" i="0" u="none" kern="1200" spc="0" dirty="0">
                <a:solidFill>
                  <a:schemeClr val="tx1"/>
                </a:solidFill>
                <a:latin typeface="+mn-lt"/>
              </a:rPr>
            </a:br>
            <a:r>
              <a:rPr lang="de-DE" sz="1050" b="0" i="0" u="none" kern="1200" spc="0" dirty="0">
                <a:solidFill>
                  <a:schemeClr val="tx1"/>
                </a:solidFill>
                <a:latin typeface="+mn-lt"/>
              </a:rPr>
              <a:t>60329 Frankfurt am Main</a:t>
            </a:r>
          </a:p>
          <a:p>
            <a:pPr marL="0" lvl="0" indent="0" algn="l">
              <a:lnSpc>
                <a:spcPct val="122000"/>
              </a:lnSpc>
              <a:spcBef>
                <a:spcPts val="560"/>
              </a:spcBef>
              <a:spcAft>
                <a:spcPts val="0"/>
              </a:spcAft>
            </a:pPr>
            <a:r>
              <a:rPr lang="de-DE" sz="1050" b="0" i="0" u="none" kern="1200" spc="0" dirty="0">
                <a:solidFill>
                  <a:schemeClr val="tx2"/>
                </a:solidFill>
                <a:latin typeface="+mn-lt"/>
              </a:rPr>
              <a:t>Web</a:t>
            </a:r>
            <a:r>
              <a:rPr lang="de-DE" sz="1050" b="0" i="0" u="none" kern="1200" spc="0" dirty="0">
                <a:solidFill>
                  <a:schemeClr val="tx1"/>
                </a:solidFill>
                <a:latin typeface="+mn-lt"/>
              </a:rPr>
              <a:t> www.advisori.de</a:t>
            </a:r>
            <a:br>
              <a:rPr lang="de-DE" sz="1050" b="0" i="0" u="none" kern="1200" spc="0" dirty="0">
                <a:solidFill>
                  <a:schemeClr val="tx1"/>
                </a:solidFill>
                <a:latin typeface="+mn-lt"/>
              </a:rPr>
            </a:br>
            <a:r>
              <a:rPr lang="de-DE" sz="1050" b="0" i="0" u="none" kern="1200" spc="0" dirty="0">
                <a:solidFill>
                  <a:schemeClr val="tx2"/>
                </a:solidFill>
                <a:latin typeface="+mn-lt"/>
              </a:rPr>
              <a:t>Xing</a:t>
            </a:r>
            <a:r>
              <a:rPr lang="de-DE" sz="1050" b="0" i="0" u="none" kern="1200" spc="0" dirty="0">
                <a:solidFill>
                  <a:schemeClr val="tx1"/>
                </a:solidFill>
                <a:latin typeface="+mn-lt"/>
              </a:rPr>
              <a:t> advisori.de/</a:t>
            </a:r>
            <a:r>
              <a:rPr lang="de-DE" sz="1050" b="0" i="0" u="none" kern="1200" spc="0" dirty="0" err="1">
                <a:solidFill>
                  <a:schemeClr val="tx1"/>
                </a:solidFill>
                <a:latin typeface="+mn-lt"/>
              </a:rPr>
              <a:t>xing</a:t>
            </a:r>
            <a:endParaRPr lang="de-DE" sz="1050" b="0" i="0" u="none" kern="1200" spc="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448642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Cl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F46E443-C89E-45C1-8000-88227C67693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B63CAE-2CBB-47A6-9FDC-55E3E16A1DD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D5846CC3-9E50-4155-9E6E-91E9DB01208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79425" y="1268413"/>
            <a:ext cx="11233150" cy="50403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B0A8BE2D-7B9B-4FAC-8545-2CE42FE0A9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9" name="Textplatzhalter 10">
            <a:extLst>
              <a:ext uri="{FF2B5EF4-FFF2-40B4-BE49-F238E27FC236}">
                <a16:creationId xmlns:a16="http://schemas.microsoft.com/office/drawing/2014/main" id="{F7A2E670-C797-4E6E-BF91-FBA11512B5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373691"/>
            <a:ext cx="8856000" cy="219585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400" b="0" i="0" u="none" kern="1200" spc="0">
                <a:solidFill>
                  <a:schemeClr val="tx2">
                    <a:lumMod val="100000"/>
                  </a:schemeClr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de-DE" dirty="0"/>
              <a:t>Folien </a:t>
            </a:r>
            <a:r>
              <a:rPr lang="de-DE" dirty="0" err="1"/>
              <a:t>Pre</a:t>
            </a:r>
            <a:r>
              <a:rPr lang="de-DE" dirty="0"/>
              <a:t>-Headline</a:t>
            </a:r>
          </a:p>
        </p:txBody>
      </p:sp>
    </p:spTree>
    <p:extLst>
      <p:ext uri="{BB962C8B-B14F-4D97-AF65-F5344CB8AC3E}">
        <p14:creationId xmlns:p14="http://schemas.microsoft.com/office/powerpoint/2010/main" val="216314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9A1733A-E450-42AD-A8C1-FF7EE9C26F0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fld id="{70B63CAE-2CBB-47A6-9FDC-55E3E16A1DD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B8A184A9-0722-43F9-9EE7-81654D67B96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373691"/>
            <a:ext cx="8856000" cy="219585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400" b="0" i="0" u="none" kern="1200" spc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Folien </a:t>
            </a:r>
            <a:r>
              <a:rPr lang="de-DE" dirty="0" err="1"/>
              <a:t>Pre</a:t>
            </a:r>
            <a:r>
              <a:rPr lang="de-DE" dirty="0"/>
              <a:t>-Headline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42B501D-EB72-431A-80E4-9831AEFA87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89622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gebot_Aus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83AF30FB-D10F-4DED-B5D4-62944314F5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17596" y="-2332"/>
            <a:ext cx="4774484" cy="6868555"/>
          </a:xfrm>
          <a:prstGeom prst="rect">
            <a:avLst/>
          </a:prstGeom>
        </p:spPr>
      </p:pic>
      <p:sp>
        <p:nvSpPr>
          <p:cNvPr id="8" name="object 3">
            <a:extLst>
              <a:ext uri="{FF2B5EF4-FFF2-40B4-BE49-F238E27FC236}">
                <a16:creationId xmlns:a16="http://schemas.microsoft.com/office/drawing/2014/main" id="{5514050C-4253-4C70-B963-4085AFF8DA18}"/>
              </a:ext>
            </a:extLst>
          </p:cNvPr>
          <p:cNvSpPr/>
          <p:nvPr userDrawn="1"/>
        </p:nvSpPr>
        <p:spPr>
          <a:xfrm rot="10800000">
            <a:off x="1080730" y="-3600"/>
            <a:ext cx="8449033" cy="6869823"/>
          </a:xfrm>
          <a:custGeom>
            <a:avLst/>
            <a:gdLst>
              <a:gd name="connsiteX0" fmla="*/ 8709360 w 10925277"/>
              <a:gd name="connsiteY0" fmla="*/ 0 h 9131300"/>
              <a:gd name="connsiteX1" fmla="*/ 2041860 w 10925277"/>
              <a:gd name="connsiteY1" fmla="*/ 0 h 9131300"/>
              <a:gd name="connsiteX2" fmla="*/ 0 w 10925277"/>
              <a:gd name="connsiteY2" fmla="*/ 9131300 h 9131300"/>
              <a:gd name="connsiteX3" fmla="*/ 10925277 w 10925277"/>
              <a:gd name="connsiteY3" fmla="*/ 9101813 h 9131300"/>
              <a:gd name="connsiteX4" fmla="*/ 8709360 w 10925277"/>
              <a:gd name="connsiteY4" fmla="*/ 0 h 9131300"/>
              <a:gd name="connsiteX0" fmla="*/ 11256224 w 11256224"/>
              <a:gd name="connsiteY0" fmla="*/ 0 h 9131300"/>
              <a:gd name="connsiteX1" fmla="*/ 2041860 w 11256224"/>
              <a:gd name="connsiteY1" fmla="*/ 0 h 9131300"/>
              <a:gd name="connsiteX2" fmla="*/ 0 w 11256224"/>
              <a:gd name="connsiteY2" fmla="*/ 9131300 h 9131300"/>
              <a:gd name="connsiteX3" fmla="*/ 10925277 w 11256224"/>
              <a:gd name="connsiteY3" fmla="*/ 9101813 h 9131300"/>
              <a:gd name="connsiteX4" fmla="*/ 11256224 w 11256224"/>
              <a:gd name="connsiteY4" fmla="*/ 0 h 9131300"/>
              <a:gd name="connsiteX0" fmla="*/ 10997221 w 10997221"/>
              <a:gd name="connsiteY0" fmla="*/ 0 h 9160787"/>
              <a:gd name="connsiteX1" fmla="*/ 2041860 w 10997221"/>
              <a:gd name="connsiteY1" fmla="*/ 29487 h 9160787"/>
              <a:gd name="connsiteX2" fmla="*/ 0 w 10997221"/>
              <a:gd name="connsiteY2" fmla="*/ 9160787 h 9160787"/>
              <a:gd name="connsiteX3" fmla="*/ 10925277 w 10997221"/>
              <a:gd name="connsiteY3" fmla="*/ 9131300 h 9160787"/>
              <a:gd name="connsiteX4" fmla="*/ 10997221 w 10997221"/>
              <a:gd name="connsiteY4" fmla="*/ 0 h 9160787"/>
              <a:gd name="connsiteX0" fmla="*/ 11025999 w 11025999"/>
              <a:gd name="connsiteY0" fmla="*/ 2 h 9131300"/>
              <a:gd name="connsiteX1" fmla="*/ 2041860 w 11025999"/>
              <a:gd name="connsiteY1" fmla="*/ 0 h 9131300"/>
              <a:gd name="connsiteX2" fmla="*/ 0 w 11025999"/>
              <a:gd name="connsiteY2" fmla="*/ 9131300 h 9131300"/>
              <a:gd name="connsiteX3" fmla="*/ 10925277 w 11025999"/>
              <a:gd name="connsiteY3" fmla="*/ 9101813 h 9131300"/>
              <a:gd name="connsiteX4" fmla="*/ 11025999 w 11025999"/>
              <a:gd name="connsiteY4" fmla="*/ 2 h 9131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25999" h="9131300">
                <a:moveTo>
                  <a:pt x="11025999" y="2"/>
                </a:moveTo>
                <a:lnTo>
                  <a:pt x="2041860" y="0"/>
                </a:lnTo>
                <a:lnTo>
                  <a:pt x="0" y="9131300"/>
                </a:lnTo>
                <a:lnTo>
                  <a:pt x="10925277" y="9101813"/>
                </a:lnTo>
                <a:lnTo>
                  <a:pt x="11025999" y="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r>
              <a:rPr lang="de-DE" dirty="0">
                <a:latin typeface="Montserrat Medium" panose="00000600000000000000" pitchFamily="2" charset="0"/>
              </a:rPr>
              <a:t>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685ED02-2A49-420C-9217-0C5F8F89FDF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B63CAE-2CBB-47A6-9FDC-55E3E16A1DD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21E3363-CC2A-4B12-ACDA-9112687B0F3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268413"/>
            <a:ext cx="7560791" cy="5040312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de-DE" dirty="0"/>
              <a:t>HIER DEN STANDARD AUSSCHREIBUNGSTEXT AUS EFFICIENT ELEMENTS EINFÜGEN! ENTWEDER DEN ANGEBOTS- ODER AUSSCHREIBUNGSTEXT. BITTE IM EE-MENÜBAND UNTER „TEXT“ &gt; „MY TEXT“ DEN ENTSPRECHENDEN TEXT EINFÜGEN!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D6D34FF-9006-4A9D-AB52-59D4911781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2BE4E03A-7D0E-4B4B-B624-329B9625A0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373691"/>
            <a:ext cx="8856000" cy="219585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Folien </a:t>
            </a:r>
            <a:r>
              <a:rPr lang="de-DE" dirty="0" err="1"/>
              <a:t>Pre</a:t>
            </a:r>
            <a:r>
              <a:rPr lang="de-DE" dirty="0"/>
              <a:t>-Headline</a:t>
            </a:r>
          </a:p>
        </p:txBody>
      </p:sp>
    </p:spTree>
    <p:extLst>
      <p:ext uri="{BB962C8B-B14F-4D97-AF65-F5344CB8AC3E}">
        <p14:creationId xmlns:p14="http://schemas.microsoft.com/office/powerpoint/2010/main" val="6054222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_Hellgrü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76F19E8-88CB-4F77-BB46-DAE7E3A1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367735"/>
            <a:ext cx="11233149" cy="48474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500" b="1" i="0" u="none" kern="1200" spc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Abschnittsüberschrift: 1 – max. 4 Zeilen</a:t>
            </a:r>
          </a:p>
        </p:txBody>
      </p:sp>
    </p:spTree>
    <p:extLst>
      <p:ext uri="{BB962C8B-B14F-4D97-AF65-F5344CB8AC3E}">
        <p14:creationId xmlns:p14="http://schemas.microsoft.com/office/powerpoint/2010/main" val="24012912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3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_Dunkelgrü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76F19E8-88CB-4F77-BB46-DAE7E3A1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367735"/>
            <a:ext cx="11233149" cy="48474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500" b="1" i="0" u="none" kern="1200" spc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Abschnittsüberschrift: 1 – max. 4 Zeilen</a:t>
            </a:r>
          </a:p>
        </p:txBody>
      </p:sp>
    </p:spTree>
    <p:extLst>
      <p:ext uri="{BB962C8B-B14F-4D97-AF65-F5344CB8AC3E}">
        <p14:creationId xmlns:p14="http://schemas.microsoft.com/office/powerpoint/2010/main" val="26276479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32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_Englisch_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025F37D7-8148-454F-98BB-20DF60A1A8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910817" y="-4164"/>
            <a:ext cx="4284435" cy="6865199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6087FF92-B2C8-4840-AE07-F9B07FD45C3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0"/>
            <a:ext cx="9631125" cy="68652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09069E1-5216-4D26-A92F-8E5A0D6042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03373"/>
            <a:ext cx="8856935" cy="593602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Überschrift, bitte einzeilig!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87858CC-5CB2-4C73-A34E-5E82C880A7E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B63CAE-2CBB-47A6-9FDC-55E3E16A1DD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13DDB888-17CD-4925-8A41-576196DD0E2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649591"/>
            <a:ext cx="3820287" cy="1923424"/>
          </a:xfrm>
          <a:prstGeom prst="rect">
            <a:avLst/>
          </a:prstGeom>
          <a:noFill/>
        </p:spPr>
        <p:txBody>
          <a:bodyPr vert="horz" wrap="square"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050" b="0" i="0" u="none" kern="1200" spc="0">
                <a:solidFill>
                  <a:schemeClr val="tx1"/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en-US" dirty="0"/>
              <a:t>Placeholder: Monitoring and reporting all relevant risks is crucial for banks, as well as demanded by regulatory agencies.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22CED52F-B97F-46AC-A5FB-0D685822AC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1279477"/>
            <a:ext cx="3820287" cy="315005"/>
          </a:xfrm>
          <a:prstGeom prst="rect">
            <a:avLst/>
          </a:prstGeom>
          <a:noFill/>
        </p:spPr>
        <p:txBody>
          <a:bodyPr vert="horz" wrap="square" lIns="0" tIns="0" rIns="0" bIns="0" anchor="ctr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400" b="1" i="0" u="none" kern="1200" spc="0">
                <a:solidFill>
                  <a:schemeClr val="tx1"/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en-US"/>
              <a:t>Placeholder</a:t>
            </a:r>
            <a:endParaRPr lang="en-US" dirty="0"/>
          </a:p>
        </p:txBody>
      </p:sp>
      <p:sp>
        <p:nvSpPr>
          <p:cNvPr id="19" name="Textplatzhalter 15">
            <a:extLst>
              <a:ext uri="{FF2B5EF4-FFF2-40B4-BE49-F238E27FC236}">
                <a16:creationId xmlns:a16="http://schemas.microsoft.com/office/drawing/2014/main" id="{8507E3F1-B62B-4574-A80F-683EDD1ED1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35953" y="1649592"/>
            <a:ext cx="3820287" cy="1923424"/>
          </a:xfrm>
          <a:prstGeom prst="rect">
            <a:avLst/>
          </a:prstGeom>
          <a:noFill/>
        </p:spPr>
        <p:txBody>
          <a:bodyPr vert="horz" wrap="square"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050" b="0" i="0" u="none" kern="1200" spc="0">
                <a:solidFill>
                  <a:schemeClr val="tx1"/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en-US" dirty="0"/>
              <a:t>Placeholder: Monitoring and reporting all relevant risks is crucial for banks, as well as demanded by regulatory agencies.</a:t>
            </a:r>
          </a:p>
        </p:txBody>
      </p:sp>
      <p:sp>
        <p:nvSpPr>
          <p:cNvPr id="20" name="Textplatzhalter 17">
            <a:extLst>
              <a:ext uri="{FF2B5EF4-FFF2-40B4-BE49-F238E27FC236}">
                <a16:creationId xmlns:a16="http://schemas.microsoft.com/office/drawing/2014/main" id="{D0A72AB9-68A0-44D9-A7F9-EB5C0752437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35953" y="1279477"/>
            <a:ext cx="3820287" cy="315005"/>
          </a:xfrm>
          <a:prstGeom prst="rect">
            <a:avLst/>
          </a:prstGeom>
          <a:noFill/>
        </p:spPr>
        <p:txBody>
          <a:bodyPr vert="horz" wrap="square" lIns="0" tIns="0" rIns="0" bIns="0" anchor="ctr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400" b="1" i="0" u="none" kern="1200" spc="0">
                <a:solidFill>
                  <a:schemeClr val="tx1"/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en-US"/>
              <a:t>Placeholder</a:t>
            </a:r>
            <a:endParaRPr lang="en-US" dirty="0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3BEAB2DE-3F12-43A9-B870-D44BBCE8621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172663" y="6125335"/>
            <a:ext cx="846351" cy="511613"/>
          </a:xfrm>
        </p:spPr>
        <p:txBody>
          <a:bodyPr>
            <a:normAutofit/>
          </a:bodyPr>
          <a:lstStyle>
            <a:lvl1pPr>
              <a:defRPr sz="105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7" name="Bildplatzhalter 25">
            <a:extLst>
              <a:ext uri="{FF2B5EF4-FFF2-40B4-BE49-F238E27FC236}">
                <a16:creationId xmlns:a16="http://schemas.microsoft.com/office/drawing/2014/main" id="{904C1A7B-999B-419C-9308-55166334F97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6313" y="6125335"/>
            <a:ext cx="846351" cy="511613"/>
          </a:xfrm>
        </p:spPr>
        <p:txBody>
          <a:bodyPr>
            <a:normAutofit/>
          </a:bodyPr>
          <a:lstStyle>
            <a:lvl1pPr>
              <a:defRPr sz="105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8" name="Bildplatzhalter 25">
            <a:extLst>
              <a:ext uri="{FF2B5EF4-FFF2-40B4-BE49-F238E27FC236}">
                <a16:creationId xmlns:a16="http://schemas.microsoft.com/office/drawing/2014/main" id="{25A825EB-A066-4338-B666-1DB00AB5AD4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2039962" y="6125335"/>
            <a:ext cx="846351" cy="511613"/>
          </a:xfrm>
        </p:spPr>
        <p:txBody>
          <a:bodyPr>
            <a:normAutofit/>
          </a:bodyPr>
          <a:lstStyle>
            <a:lvl1pPr>
              <a:defRPr sz="105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9" name="Bildplatzhalter 25">
            <a:extLst>
              <a:ext uri="{FF2B5EF4-FFF2-40B4-BE49-F238E27FC236}">
                <a16:creationId xmlns:a16="http://schemas.microsoft.com/office/drawing/2014/main" id="{0D17024B-1739-4AC6-9AD7-168A936E3C0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73611" y="6125335"/>
            <a:ext cx="846351" cy="511613"/>
          </a:xfrm>
        </p:spPr>
        <p:txBody>
          <a:bodyPr>
            <a:normAutofit/>
          </a:bodyPr>
          <a:lstStyle>
            <a:lvl1pPr>
              <a:defRPr sz="105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0" name="Bildplatzhalter 25">
            <a:extLst>
              <a:ext uri="{FF2B5EF4-FFF2-40B4-BE49-F238E27FC236}">
                <a16:creationId xmlns:a16="http://schemas.microsoft.com/office/drawing/2014/main" id="{61C2DADE-FA67-4143-AEEB-BDEF2218DB07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739015" y="6125335"/>
            <a:ext cx="846351" cy="511613"/>
          </a:xfrm>
        </p:spPr>
        <p:txBody>
          <a:bodyPr>
            <a:normAutofit/>
          </a:bodyPr>
          <a:lstStyle>
            <a:lvl1pPr>
              <a:defRPr sz="105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1" name="Textplatzhalter 10">
            <a:extLst>
              <a:ext uri="{FF2B5EF4-FFF2-40B4-BE49-F238E27FC236}">
                <a16:creationId xmlns:a16="http://schemas.microsoft.com/office/drawing/2014/main" id="{4407641B-2F24-4786-97C5-F80B1C50AB9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79425" y="373691"/>
            <a:ext cx="8856935" cy="219585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Folien </a:t>
            </a:r>
            <a:r>
              <a:rPr lang="de-DE" dirty="0" err="1"/>
              <a:t>Pre</a:t>
            </a:r>
            <a:r>
              <a:rPr lang="de-DE" dirty="0"/>
              <a:t>-Headline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C10F77B7-9CD9-44AB-8AA7-5C23409583D3}"/>
              </a:ext>
            </a:extLst>
          </p:cNvPr>
          <p:cNvSpPr txBox="1"/>
          <p:nvPr userDrawn="1"/>
        </p:nvSpPr>
        <p:spPr>
          <a:xfrm>
            <a:off x="9428623" y="2073600"/>
            <a:ext cx="816307" cy="24154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</a:pPr>
            <a:r>
              <a:rPr lang="en-US" sz="1200" b="1" i="0" u="none" kern="1200" spc="0" dirty="0">
                <a:solidFill>
                  <a:schemeClr val="bg1"/>
                </a:solidFill>
                <a:latin typeface="+mn-lt"/>
              </a:rPr>
              <a:t>Duration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C1F40626-399A-43F3-9273-6BA50E37B02A}"/>
              </a:ext>
            </a:extLst>
          </p:cNvPr>
          <p:cNvSpPr txBox="1"/>
          <p:nvPr userDrawn="1"/>
        </p:nvSpPr>
        <p:spPr>
          <a:xfrm>
            <a:off x="9428622" y="1649592"/>
            <a:ext cx="816307" cy="38287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</a:pPr>
            <a:r>
              <a:rPr lang="en-US" sz="1200" b="1" i="0" u="none" kern="1200" spc="0" dirty="0">
                <a:solidFill>
                  <a:schemeClr val="bg1"/>
                </a:solidFill>
                <a:latin typeface="+mn-lt"/>
              </a:rPr>
              <a:t>Client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99EDCCFA-6606-4B83-A36E-0924FEFE6D58}"/>
              </a:ext>
            </a:extLst>
          </p:cNvPr>
          <p:cNvSpPr txBox="1"/>
          <p:nvPr userDrawn="1"/>
        </p:nvSpPr>
        <p:spPr>
          <a:xfrm>
            <a:off x="9428622" y="2468924"/>
            <a:ext cx="816307" cy="24154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</a:pPr>
            <a:r>
              <a:rPr lang="en-US" sz="1200" b="1" i="0" u="none" kern="1200" spc="0" dirty="0">
                <a:solidFill>
                  <a:schemeClr val="bg1"/>
                </a:solidFill>
                <a:latin typeface="+mn-lt"/>
              </a:rPr>
              <a:t>Volume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2BF16D72-721A-40FC-BDE7-5D9DA3DE2938}"/>
              </a:ext>
            </a:extLst>
          </p:cNvPr>
          <p:cNvSpPr txBox="1"/>
          <p:nvPr userDrawn="1"/>
        </p:nvSpPr>
        <p:spPr>
          <a:xfrm>
            <a:off x="9428623" y="2891968"/>
            <a:ext cx="816307" cy="537032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</a:pPr>
            <a:r>
              <a:rPr lang="en-US" sz="1200" b="1" i="0" u="none" kern="1200" spc="0" dirty="0">
                <a:solidFill>
                  <a:schemeClr val="bg1"/>
                </a:solidFill>
                <a:latin typeface="+mn-lt"/>
              </a:rPr>
              <a:t>Role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39A61115-B1D7-4DD7-923A-24A0DF25CE0E}"/>
              </a:ext>
            </a:extLst>
          </p:cNvPr>
          <p:cNvSpPr txBox="1"/>
          <p:nvPr userDrawn="1"/>
        </p:nvSpPr>
        <p:spPr>
          <a:xfrm>
            <a:off x="9428622" y="3613083"/>
            <a:ext cx="2247442" cy="24154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pPr marL="0" lvl="0" indent="0" algn="l">
              <a:lnSpc>
                <a:spcPct val="122000"/>
              </a:lnSpc>
              <a:spcBef>
                <a:spcPts val="560"/>
              </a:spcBef>
              <a:spcAft>
                <a:spcPts val="0"/>
              </a:spcAft>
            </a:pPr>
            <a:r>
              <a:rPr lang="en-US" sz="1400" b="1" i="0" u="none" kern="1200" spc="0">
                <a:solidFill>
                  <a:schemeClr val="bg1"/>
                </a:solidFill>
                <a:latin typeface="Montserrat Medium" panose="00000600000000000000" pitchFamily="2" charset="0"/>
              </a:rPr>
              <a:t>INSIGHTS</a:t>
            </a:r>
            <a:endParaRPr lang="en-US" sz="1400" b="1" i="0" u="none" kern="1200" spc="0" dirty="0">
              <a:solidFill>
                <a:schemeClr val="bg1"/>
              </a:solidFill>
              <a:latin typeface="Montserrat Medium" panose="00000600000000000000" pitchFamily="2" charset="0"/>
            </a:endParaRP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6E27559-1034-42DB-A3FF-BE81E7DC34B0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479425" y="4070255"/>
            <a:ext cx="3820287" cy="1923424"/>
          </a:xfrm>
        </p:spPr>
        <p:txBody>
          <a:bodyPr lIns="0" tIns="0" rIns="0" bIns="0"/>
          <a:lstStyle>
            <a:lvl1pPr marL="0" indent="0">
              <a:defRPr sz="1050"/>
            </a:lvl1pPr>
            <a:lvl2pPr marL="135000" indent="-135000">
              <a:defRPr sz="1050"/>
            </a:lvl2pPr>
            <a:lvl3pPr marL="270000" indent="-135000">
              <a:defRPr sz="1050"/>
            </a:lvl3pPr>
            <a:lvl4pPr marL="405000" indent="-135000">
              <a:defRPr sz="1050"/>
            </a:lvl4pPr>
            <a:lvl5pPr marL="540000" indent="-135000">
              <a:defRPr sz="105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4" name="Textplatzhalter 17">
            <a:extLst>
              <a:ext uri="{FF2B5EF4-FFF2-40B4-BE49-F238E27FC236}">
                <a16:creationId xmlns:a16="http://schemas.microsoft.com/office/drawing/2014/main" id="{66DA6EB2-F020-4938-B204-A26413AD0B0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79425" y="3700141"/>
            <a:ext cx="3820287" cy="315005"/>
          </a:xfrm>
          <a:prstGeom prst="rect">
            <a:avLst/>
          </a:prstGeom>
          <a:noFill/>
        </p:spPr>
        <p:txBody>
          <a:bodyPr vert="horz" wrap="square" lIns="0" tIns="0" rIns="0" bIns="0" anchor="ctr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400" b="1" i="0" u="none" kern="1200" spc="0">
                <a:solidFill>
                  <a:schemeClr val="tx1"/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en-US"/>
              <a:t>Placeholder</a:t>
            </a:r>
            <a:endParaRPr lang="en-US" dirty="0"/>
          </a:p>
        </p:txBody>
      </p:sp>
      <p:sp>
        <p:nvSpPr>
          <p:cNvPr id="46" name="Textplatzhalter 17">
            <a:extLst>
              <a:ext uri="{FF2B5EF4-FFF2-40B4-BE49-F238E27FC236}">
                <a16:creationId xmlns:a16="http://schemas.microsoft.com/office/drawing/2014/main" id="{D5A3E043-6334-46C1-9C2E-772DD11CB65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35953" y="3700141"/>
            <a:ext cx="3820287" cy="315005"/>
          </a:xfrm>
          <a:prstGeom prst="rect">
            <a:avLst/>
          </a:prstGeom>
          <a:noFill/>
        </p:spPr>
        <p:txBody>
          <a:bodyPr vert="horz" wrap="square" lIns="0" tIns="0" rIns="0" bIns="0" anchor="ctr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400" b="1" i="0" u="none" kern="1200" spc="0">
                <a:solidFill>
                  <a:schemeClr val="tx1"/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en-US"/>
              <a:t>Placeholder</a:t>
            </a:r>
            <a:endParaRPr lang="en-US" dirty="0"/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44F61CE1-2CA9-4081-8390-79CFCEE15F0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28621" y="3945693"/>
            <a:ext cx="2283953" cy="2360099"/>
          </a:xfrm>
          <a:prstGeom prst="rect">
            <a:avLst/>
          </a:prstGeom>
        </p:spPr>
        <p:txBody>
          <a:bodyPr vert="horz" wrap="square"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050" b="1" i="0" u="none" kern="1200" spc="0">
                <a:solidFill>
                  <a:schemeClr val="bg1">
                    <a:lumMod val="100000"/>
                  </a:schemeClr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en-US" dirty="0"/>
              <a:t>Predictive Analytics can easily be built when the data is carefully understood, modelled and cleansed.</a:t>
            </a:r>
          </a:p>
          <a:p>
            <a:pPr lvl="0"/>
            <a:r>
              <a:rPr lang="en-US" dirty="0"/>
              <a:t>Bus technical failures can be predicted to a reasonable extent using only few data. Thus, data added in the future will very likely increase accuracy.</a:t>
            </a:r>
          </a:p>
        </p:txBody>
      </p:sp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15018529-7418-4224-8C7B-97280FFCBD9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265714" y="1649592"/>
            <a:ext cx="1887555" cy="382879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200" b="0" i="0" u="none" kern="1200" spc="0">
                <a:solidFill>
                  <a:schemeClr val="tx2">
                    <a:lumMod val="100000"/>
                  </a:schemeClr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en-US" dirty="0"/>
              <a:t>Company name up to max. 2 rows</a:t>
            </a:r>
          </a:p>
        </p:txBody>
      </p:sp>
      <p:sp>
        <p:nvSpPr>
          <p:cNvPr id="51" name="Textplatzhalter 49">
            <a:extLst>
              <a:ext uri="{FF2B5EF4-FFF2-40B4-BE49-F238E27FC236}">
                <a16:creationId xmlns:a16="http://schemas.microsoft.com/office/drawing/2014/main" id="{194ABE5C-9E35-44B1-95B9-41A3966103D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0265714" y="2073600"/>
            <a:ext cx="1887555" cy="241541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200" b="0" i="0" u="none" kern="1200" spc="0">
                <a:solidFill>
                  <a:schemeClr val="tx2">
                    <a:lumMod val="100000"/>
                  </a:schemeClr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en-US" dirty="0"/>
              <a:t>20XX – 20XX</a:t>
            </a:r>
          </a:p>
        </p:txBody>
      </p:sp>
      <p:sp>
        <p:nvSpPr>
          <p:cNvPr id="52" name="Textplatzhalter 49">
            <a:extLst>
              <a:ext uri="{FF2B5EF4-FFF2-40B4-BE49-F238E27FC236}">
                <a16:creationId xmlns:a16="http://schemas.microsoft.com/office/drawing/2014/main" id="{184334A9-0C5D-4D70-BDA6-56592591A2C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265714" y="2468924"/>
            <a:ext cx="1887555" cy="241541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200" b="0" i="0" u="none" kern="1200" spc="0">
                <a:solidFill>
                  <a:schemeClr val="tx2">
                    <a:lumMod val="100000"/>
                  </a:schemeClr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en-US" dirty="0"/>
              <a:t>50-man-days</a:t>
            </a:r>
          </a:p>
        </p:txBody>
      </p:sp>
      <p:sp>
        <p:nvSpPr>
          <p:cNvPr id="53" name="Textplatzhalter 49">
            <a:extLst>
              <a:ext uri="{FF2B5EF4-FFF2-40B4-BE49-F238E27FC236}">
                <a16:creationId xmlns:a16="http://schemas.microsoft.com/office/drawing/2014/main" id="{46B2BF65-B598-46DF-A184-C740A6E151D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265714" y="2891968"/>
            <a:ext cx="1887555" cy="537032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200" b="0" i="0" u="none" kern="1200" spc="0">
                <a:solidFill>
                  <a:schemeClr val="tx2">
                    <a:lumMod val="100000"/>
                  </a:schemeClr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en-US" dirty="0"/>
              <a:t>Architect, Data-Engineer, BI Expert</a:t>
            </a:r>
          </a:p>
        </p:txBody>
      </p:sp>
      <p:sp>
        <p:nvSpPr>
          <p:cNvPr id="35" name="Content Placeholder 8">
            <a:extLst>
              <a:ext uri="{FF2B5EF4-FFF2-40B4-BE49-F238E27FC236}">
                <a16:creationId xmlns:a16="http://schemas.microsoft.com/office/drawing/2014/main" id="{6FD2129B-86DA-4291-9C01-7271C88E52F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4435953" y="4070255"/>
            <a:ext cx="3820287" cy="1923424"/>
          </a:xfrm>
        </p:spPr>
        <p:txBody>
          <a:bodyPr lIns="0" tIns="0" rIns="0" bIns="0"/>
          <a:lstStyle>
            <a:lvl1pPr marL="0" indent="0">
              <a:defRPr sz="1050"/>
            </a:lvl1pPr>
            <a:lvl2pPr marL="135000" indent="-135000">
              <a:defRPr sz="1050"/>
            </a:lvl2pPr>
            <a:lvl3pPr marL="270000" indent="-135000">
              <a:defRPr sz="1050"/>
            </a:lvl3pPr>
            <a:lvl4pPr marL="405000" indent="-135000">
              <a:defRPr sz="1050"/>
            </a:lvl4pPr>
            <a:lvl5pPr marL="540000" indent="-135000">
              <a:defRPr sz="105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1247657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_Englisch_ohne_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025F37D7-8148-454F-98BB-20DF60A1A8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910817" y="-4164"/>
            <a:ext cx="4284435" cy="6865199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6087FF92-B2C8-4840-AE07-F9B07FD45C3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0"/>
            <a:ext cx="9631125" cy="68652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09069E1-5216-4D26-A92F-8E5A0D6042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03373"/>
            <a:ext cx="8856000" cy="593602"/>
          </a:xfrm>
        </p:spPr>
        <p:txBody>
          <a:bodyPr/>
          <a:lstStyle/>
          <a:p>
            <a:r>
              <a:rPr lang="de-DE" dirty="0"/>
              <a:t>Überschrift, bitte einzeilig!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87858CC-5CB2-4C73-A34E-5E82C880A7E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B63CAE-2CBB-47A6-9FDC-55E3E16A1DD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13DDB888-17CD-4925-8A41-576196DD0E2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649591"/>
            <a:ext cx="3820287" cy="1923424"/>
          </a:xfrm>
          <a:prstGeom prst="rect">
            <a:avLst/>
          </a:prstGeom>
          <a:noFill/>
        </p:spPr>
        <p:txBody>
          <a:bodyPr vert="horz" wrap="square"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050" b="0" i="0" u="none" kern="1200" spc="0">
                <a:solidFill>
                  <a:schemeClr val="tx1"/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en-US" dirty="0"/>
              <a:t>Placeholder: Monitoring and reporting all relevant risks is crucial for banks, as well as demanded by regulatory agencies.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22CED52F-B97F-46AC-A5FB-0D685822AC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1279477"/>
            <a:ext cx="3820287" cy="315005"/>
          </a:xfrm>
          <a:prstGeom prst="rect">
            <a:avLst/>
          </a:prstGeom>
          <a:noFill/>
        </p:spPr>
        <p:txBody>
          <a:bodyPr vert="horz" wrap="square" lIns="0" tIns="0" rIns="0" bIns="0" anchor="ctr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400" b="1" i="0" u="none" kern="1200" spc="0">
                <a:solidFill>
                  <a:schemeClr val="tx1"/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en-US"/>
              <a:t>Placeholder</a:t>
            </a:r>
            <a:endParaRPr lang="en-US" dirty="0"/>
          </a:p>
        </p:txBody>
      </p:sp>
      <p:sp>
        <p:nvSpPr>
          <p:cNvPr id="19" name="Textplatzhalter 15">
            <a:extLst>
              <a:ext uri="{FF2B5EF4-FFF2-40B4-BE49-F238E27FC236}">
                <a16:creationId xmlns:a16="http://schemas.microsoft.com/office/drawing/2014/main" id="{8507E3F1-B62B-4574-A80F-683EDD1ED1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35953" y="1649592"/>
            <a:ext cx="3820287" cy="1923424"/>
          </a:xfrm>
          <a:prstGeom prst="rect">
            <a:avLst/>
          </a:prstGeom>
          <a:noFill/>
        </p:spPr>
        <p:txBody>
          <a:bodyPr vert="horz" wrap="square"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050" b="0" i="0" u="none" kern="1200" spc="0">
                <a:solidFill>
                  <a:schemeClr val="tx1"/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en-US" dirty="0"/>
              <a:t>Placeholder: Monitoring and reporting all relevant risks is crucial for banks, as well as demanded by regulatory agencies.</a:t>
            </a:r>
          </a:p>
        </p:txBody>
      </p:sp>
      <p:sp>
        <p:nvSpPr>
          <p:cNvPr id="20" name="Textplatzhalter 17">
            <a:extLst>
              <a:ext uri="{FF2B5EF4-FFF2-40B4-BE49-F238E27FC236}">
                <a16:creationId xmlns:a16="http://schemas.microsoft.com/office/drawing/2014/main" id="{D0A72AB9-68A0-44D9-A7F9-EB5C0752437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35953" y="1279477"/>
            <a:ext cx="3820287" cy="315005"/>
          </a:xfrm>
          <a:prstGeom prst="rect">
            <a:avLst/>
          </a:prstGeom>
          <a:noFill/>
        </p:spPr>
        <p:txBody>
          <a:bodyPr vert="horz" wrap="square" lIns="0" tIns="0" rIns="0" bIns="0" anchor="ctr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400" b="1" i="0" u="none" kern="1200" spc="0">
                <a:solidFill>
                  <a:schemeClr val="tx1"/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en-US"/>
              <a:t>Placeholder</a:t>
            </a:r>
            <a:endParaRPr lang="en-US" dirty="0"/>
          </a:p>
        </p:txBody>
      </p:sp>
      <p:sp>
        <p:nvSpPr>
          <p:cNvPr id="31" name="Textplatzhalter 10">
            <a:extLst>
              <a:ext uri="{FF2B5EF4-FFF2-40B4-BE49-F238E27FC236}">
                <a16:creationId xmlns:a16="http://schemas.microsoft.com/office/drawing/2014/main" id="{4407641B-2F24-4786-97C5-F80B1C50AB9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79425" y="373691"/>
            <a:ext cx="8856000" cy="219585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Folien </a:t>
            </a:r>
            <a:r>
              <a:rPr lang="de-DE" dirty="0" err="1"/>
              <a:t>Pre</a:t>
            </a:r>
            <a:r>
              <a:rPr lang="de-DE" dirty="0"/>
              <a:t>-Headline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39A61115-B1D7-4DD7-923A-24A0DF25CE0E}"/>
              </a:ext>
            </a:extLst>
          </p:cNvPr>
          <p:cNvSpPr txBox="1"/>
          <p:nvPr userDrawn="1"/>
        </p:nvSpPr>
        <p:spPr>
          <a:xfrm>
            <a:off x="9428622" y="3613083"/>
            <a:ext cx="2247442" cy="24154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pPr marL="0" lvl="0" indent="0" algn="l">
              <a:lnSpc>
                <a:spcPct val="122000"/>
              </a:lnSpc>
              <a:spcBef>
                <a:spcPts val="560"/>
              </a:spcBef>
              <a:spcAft>
                <a:spcPts val="0"/>
              </a:spcAft>
            </a:pPr>
            <a:r>
              <a:rPr lang="en-US" sz="1400" b="1" i="0" u="none" kern="1200" spc="0">
                <a:solidFill>
                  <a:schemeClr val="bg1"/>
                </a:solidFill>
                <a:latin typeface="Montserrat Medium" panose="00000600000000000000" pitchFamily="2" charset="0"/>
              </a:rPr>
              <a:t>INSIGHTS</a:t>
            </a:r>
            <a:endParaRPr lang="en-US" sz="1400" b="1" i="0" u="none" kern="1200" spc="0" dirty="0">
              <a:solidFill>
                <a:schemeClr val="bg1"/>
              </a:solidFill>
              <a:latin typeface="Montserrat Medium" panose="00000600000000000000" pitchFamily="2" charset="0"/>
            </a:endParaRPr>
          </a:p>
        </p:txBody>
      </p:sp>
      <p:sp>
        <p:nvSpPr>
          <p:cNvPr id="44" name="Textplatzhalter 17">
            <a:extLst>
              <a:ext uri="{FF2B5EF4-FFF2-40B4-BE49-F238E27FC236}">
                <a16:creationId xmlns:a16="http://schemas.microsoft.com/office/drawing/2014/main" id="{66DA6EB2-F020-4938-B204-A26413AD0B0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79425" y="3700141"/>
            <a:ext cx="3820287" cy="315005"/>
          </a:xfrm>
          <a:prstGeom prst="rect">
            <a:avLst/>
          </a:prstGeom>
          <a:noFill/>
        </p:spPr>
        <p:txBody>
          <a:bodyPr vert="horz" wrap="square" lIns="0" tIns="0" rIns="0" bIns="0" anchor="ctr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400" b="1" i="0" u="none" kern="1200" spc="0">
                <a:solidFill>
                  <a:schemeClr val="tx1"/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en-US"/>
              <a:t>Placeholder</a:t>
            </a:r>
            <a:endParaRPr lang="en-US" dirty="0"/>
          </a:p>
        </p:txBody>
      </p:sp>
      <p:sp>
        <p:nvSpPr>
          <p:cNvPr id="46" name="Textplatzhalter 17">
            <a:extLst>
              <a:ext uri="{FF2B5EF4-FFF2-40B4-BE49-F238E27FC236}">
                <a16:creationId xmlns:a16="http://schemas.microsoft.com/office/drawing/2014/main" id="{D5A3E043-6334-46C1-9C2E-772DD11CB65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35953" y="3700141"/>
            <a:ext cx="3820287" cy="315005"/>
          </a:xfrm>
          <a:prstGeom prst="rect">
            <a:avLst/>
          </a:prstGeom>
          <a:noFill/>
        </p:spPr>
        <p:txBody>
          <a:bodyPr vert="horz" wrap="square" lIns="0" tIns="0" rIns="0" bIns="0" anchor="ctr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400" b="1" i="0" u="none" kern="1200" spc="0">
                <a:solidFill>
                  <a:schemeClr val="tx1"/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en-US"/>
              <a:t>Placeholder</a:t>
            </a:r>
            <a:endParaRPr lang="en-US" dirty="0"/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44F61CE1-2CA9-4081-8390-79CFCEE15F0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28621" y="3945693"/>
            <a:ext cx="2283953" cy="2360099"/>
          </a:xfrm>
          <a:prstGeom prst="rect">
            <a:avLst/>
          </a:prstGeom>
        </p:spPr>
        <p:txBody>
          <a:bodyPr vert="horz" wrap="square"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050" b="1" i="0" u="none" kern="1200" spc="0">
                <a:solidFill>
                  <a:schemeClr val="bg1">
                    <a:lumMod val="100000"/>
                  </a:schemeClr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en-US" dirty="0"/>
              <a:t>Predictive Analytics can easily be built when the data is carefully understood, modelled and cleansed.</a:t>
            </a:r>
          </a:p>
          <a:p>
            <a:pPr lvl="0"/>
            <a:r>
              <a:rPr lang="en-US" dirty="0"/>
              <a:t>Bus technical failures can be predicted to a reasonable extent using only few data. Thus, data added in the future will very likely increase accuracy.</a:t>
            </a:r>
          </a:p>
        </p:txBody>
      </p:sp>
      <p:sp>
        <p:nvSpPr>
          <p:cNvPr id="25" name="Content Placeholder 8">
            <a:extLst>
              <a:ext uri="{FF2B5EF4-FFF2-40B4-BE49-F238E27FC236}">
                <a16:creationId xmlns:a16="http://schemas.microsoft.com/office/drawing/2014/main" id="{E56E62A6-9B15-4388-B605-5FF742945BF2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479425" y="4070255"/>
            <a:ext cx="3820287" cy="1923424"/>
          </a:xfrm>
        </p:spPr>
        <p:txBody>
          <a:bodyPr lIns="0" tIns="0" rIns="0" bIns="0"/>
          <a:lstStyle>
            <a:lvl1pPr marL="0" indent="0">
              <a:defRPr sz="1050"/>
            </a:lvl1pPr>
            <a:lvl2pPr marL="135000" indent="-135000">
              <a:defRPr sz="1050"/>
            </a:lvl2pPr>
            <a:lvl3pPr marL="270000" indent="-135000">
              <a:defRPr sz="1050"/>
            </a:lvl3pPr>
            <a:lvl4pPr marL="405000" indent="-135000">
              <a:defRPr sz="1050"/>
            </a:lvl4pPr>
            <a:lvl5pPr marL="540000" indent="-135000">
              <a:defRPr sz="105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6" name="Content Placeholder 8">
            <a:extLst>
              <a:ext uri="{FF2B5EF4-FFF2-40B4-BE49-F238E27FC236}">
                <a16:creationId xmlns:a16="http://schemas.microsoft.com/office/drawing/2014/main" id="{C8A8DC63-8CAA-4C48-BEFF-3548FE294387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4435953" y="4070255"/>
            <a:ext cx="3820287" cy="1923424"/>
          </a:xfrm>
        </p:spPr>
        <p:txBody>
          <a:bodyPr lIns="0" tIns="0" rIns="0" bIns="0"/>
          <a:lstStyle>
            <a:lvl1pPr marL="0" indent="0">
              <a:defRPr sz="1050"/>
            </a:lvl1pPr>
            <a:lvl2pPr marL="135000" indent="-135000">
              <a:defRPr sz="1050"/>
            </a:lvl2pPr>
            <a:lvl3pPr marL="270000" indent="-135000">
              <a:defRPr sz="1050"/>
            </a:lvl3pPr>
            <a:lvl4pPr marL="405000" indent="-135000">
              <a:defRPr sz="1050"/>
            </a:lvl4pPr>
            <a:lvl5pPr marL="540000" indent="-135000">
              <a:defRPr sz="105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85FECA51-1859-498C-B12A-8A1CCC392379}"/>
              </a:ext>
            </a:extLst>
          </p:cNvPr>
          <p:cNvSpPr txBox="1"/>
          <p:nvPr userDrawn="1"/>
        </p:nvSpPr>
        <p:spPr>
          <a:xfrm>
            <a:off x="9428623" y="2073600"/>
            <a:ext cx="816307" cy="24154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</a:pPr>
            <a:r>
              <a:rPr lang="en-US" sz="1200" b="1" i="0" u="none" kern="1200" spc="0" dirty="0">
                <a:solidFill>
                  <a:schemeClr val="bg1"/>
                </a:solidFill>
                <a:latin typeface="+mn-lt"/>
              </a:rPr>
              <a:t>Duration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2E70CD70-CD45-4519-9598-2538C716831C}"/>
              </a:ext>
            </a:extLst>
          </p:cNvPr>
          <p:cNvSpPr txBox="1"/>
          <p:nvPr userDrawn="1"/>
        </p:nvSpPr>
        <p:spPr>
          <a:xfrm>
            <a:off x="9428622" y="1649592"/>
            <a:ext cx="816307" cy="38287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</a:pPr>
            <a:r>
              <a:rPr lang="en-US" sz="1200" b="1" i="0" u="none" kern="1200" spc="0" dirty="0">
                <a:solidFill>
                  <a:schemeClr val="bg1"/>
                </a:solidFill>
                <a:latin typeface="+mn-lt"/>
              </a:rPr>
              <a:t>Client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E217B1E6-7ED3-4BA5-A241-CC505589F1E1}"/>
              </a:ext>
            </a:extLst>
          </p:cNvPr>
          <p:cNvSpPr txBox="1"/>
          <p:nvPr userDrawn="1"/>
        </p:nvSpPr>
        <p:spPr>
          <a:xfrm>
            <a:off x="9428622" y="2468924"/>
            <a:ext cx="816307" cy="24154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</a:pPr>
            <a:r>
              <a:rPr lang="en-US" sz="1200" b="1" i="0" u="none" kern="1200" spc="0" dirty="0">
                <a:solidFill>
                  <a:schemeClr val="bg1"/>
                </a:solidFill>
                <a:latin typeface="+mn-lt"/>
              </a:rPr>
              <a:t>Volume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AA78FE93-3EA5-4259-AAEA-9679E6EC48DE}"/>
              </a:ext>
            </a:extLst>
          </p:cNvPr>
          <p:cNvSpPr txBox="1"/>
          <p:nvPr userDrawn="1"/>
        </p:nvSpPr>
        <p:spPr>
          <a:xfrm>
            <a:off x="9428623" y="2891968"/>
            <a:ext cx="816307" cy="537032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</a:pPr>
            <a:r>
              <a:rPr lang="en-US" sz="1200" b="1" i="0" u="none" kern="1200" spc="0" dirty="0">
                <a:solidFill>
                  <a:schemeClr val="bg1"/>
                </a:solidFill>
                <a:latin typeface="+mn-lt"/>
              </a:rPr>
              <a:t>Role</a:t>
            </a:r>
          </a:p>
        </p:txBody>
      </p:sp>
      <p:sp>
        <p:nvSpPr>
          <p:cNvPr id="33" name="Textplatzhalter 49">
            <a:extLst>
              <a:ext uri="{FF2B5EF4-FFF2-40B4-BE49-F238E27FC236}">
                <a16:creationId xmlns:a16="http://schemas.microsoft.com/office/drawing/2014/main" id="{B3746DF5-D6CA-452C-8130-F963973CB96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265714" y="1649592"/>
            <a:ext cx="1887555" cy="382879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200" b="0" i="0" u="none" kern="1200" spc="0">
                <a:solidFill>
                  <a:schemeClr val="tx2">
                    <a:lumMod val="100000"/>
                  </a:schemeClr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en-US" dirty="0"/>
              <a:t>Company name up to max. 2 rows</a:t>
            </a:r>
          </a:p>
        </p:txBody>
      </p:sp>
      <p:sp>
        <p:nvSpPr>
          <p:cNvPr id="35" name="Textplatzhalter 49">
            <a:extLst>
              <a:ext uri="{FF2B5EF4-FFF2-40B4-BE49-F238E27FC236}">
                <a16:creationId xmlns:a16="http://schemas.microsoft.com/office/drawing/2014/main" id="{A138833F-261D-4FEC-B666-BF339FCD589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0265714" y="2073600"/>
            <a:ext cx="1887555" cy="241541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200" b="0" i="0" u="none" kern="1200" spc="0">
                <a:solidFill>
                  <a:schemeClr val="tx2">
                    <a:lumMod val="100000"/>
                  </a:schemeClr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en-US" dirty="0"/>
              <a:t>20XX – 20XX</a:t>
            </a:r>
          </a:p>
        </p:txBody>
      </p:sp>
      <p:sp>
        <p:nvSpPr>
          <p:cNvPr id="37" name="Textplatzhalter 49">
            <a:extLst>
              <a:ext uri="{FF2B5EF4-FFF2-40B4-BE49-F238E27FC236}">
                <a16:creationId xmlns:a16="http://schemas.microsoft.com/office/drawing/2014/main" id="{CAA96848-0135-458B-AE68-92ECBA41DCD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265714" y="2468924"/>
            <a:ext cx="1887555" cy="241541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200" b="0" i="0" u="none" kern="1200" spc="0">
                <a:solidFill>
                  <a:schemeClr val="tx2">
                    <a:lumMod val="100000"/>
                  </a:schemeClr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en-US" dirty="0"/>
              <a:t>50-man-days</a:t>
            </a:r>
          </a:p>
        </p:txBody>
      </p:sp>
      <p:sp>
        <p:nvSpPr>
          <p:cNvPr id="39" name="Textplatzhalter 49">
            <a:extLst>
              <a:ext uri="{FF2B5EF4-FFF2-40B4-BE49-F238E27FC236}">
                <a16:creationId xmlns:a16="http://schemas.microsoft.com/office/drawing/2014/main" id="{7C2668B4-4630-47B6-B9A7-2FADBC6735A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265714" y="2891968"/>
            <a:ext cx="1887555" cy="537032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200" b="0" i="0" u="none" kern="1200" spc="0">
                <a:solidFill>
                  <a:schemeClr val="tx2">
                    <a:lumMod val="100000"/>
                  </a:schemeClr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en-US" dirty="0"/>
              <a:t>Architect, Data-Engineer, BI Expert</a:t>
            </a:r>
          </a:p>
        </p:txBody>
      </p:sp>
    </p:spTree>
    <p:extLst>
      <p:ext uri="{BB962C8B-B14F-4D97-AF65-F5344CB8AC3E}">
        <p14:creationId xmlns:p14="http://schemas.microsoft.com/office/powerpoint/2010/main" val="7195840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_Deutsch_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025F37D7-8148-454F-98BB-20DF60A1A8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910817" y="-4164"/>
            <a:ext cx="4284435" cy="6865199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6087FF92-B2C8-4840-AE07-F9B07FD45C3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0"/>
            <a:ext cx="9631125" cy="68652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09069E1-5216-4D26-A92F-8E5A0D6042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03373"/>
            <a:ext cx="8856000" cy="593602"/>
          </a:xfrm>
        </p:spPr>
        <p:txBody>
          <a:bodyPr/>
          <a:lstStyle/>
          <a:p>
            <a:r>
              <a:rPr lang="de-DE" dirty="0"/>
              <a:t>Überschrift, bitte einzeilig!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87858CC-5CB2-4C73-A34E-5E82C880A7E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B63CAE-2CBB-47A6-9FDC-55E3E16A1DD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13DDB888-17CD-4925-8A41-576196DD0E2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649591"/>
            <a:ext cx="3820287" cy="1923424"/>
          </a:xfrm>
          <a:prstGeom prst="rect">
            <a:avLst/>
          </a:prstGeom>
          <a:noFill/>
        </p:spPr>
        <p:txBody>
          <a:bodyPr vert="horz" wrap="square"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050" b="0" i="0" u="none" kern="1200" spc="0">
                <a:solidFill>
                  <a:schemeClr val="tx1"/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de-DE" dirty="0"/>
              <a:t>Platzhalter: Die Überwachung und Berichterstattung über alle relevanten Risiken ist für Banken von entscheidender Bedeutung und wird auch von den Aufsichtsbehörden gefordert.</a:t>
            </a:r>
            <a:endParaRPr lang="en-US" dirty="0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22CED52F-B97F-46AC-A5FB-0D685822AC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1279477"/>
            <a:ext cx="3820287" cy="315005"/>
          </a:xfrm>
          <a:prstGeom prst="rect">
            <a:avLst/>
          </a:prstGeom>
          <a:noFill/>
        </p:spPr>
        <p:txBody>
          <a:bodyPr vert="horz" wrap="square" lIns="0" tIns="0" rIns="0" bIns="0" anchor="ctr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400" b="1" i="0" u="none" kern="1200" spc="0">
                <a:solidFill>
                  <a:schemeClr val="tx1"/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de-DE" dirty="0"/>
              <a:t>Platzhalter</a:t>
            </a:r>
          </a:p>
        </p:txBody>
      </p:sp>
      <p:sp>
        <p:nvSpPr>
          <p:cNvPr id="19" name="Textplatzhalter 15">
            <a:extLst>
              <a:ext uri="{FF2B5EF4-FFF2-40B4-BE49-F238E27FC236}">
                <a16:creationId xmlns:a16="http://schemas.microsoft.com/office/drawing/2014/main" id="{8507E3F1-B62B-4574-A80F-683EDD1ED1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35953" y="1649592"/>
            <a:ext cx="3820287" cy="1923424"/>
          </a:xfrm>
          <a:prstGeom prst="rect">
            <a:avLst/>
          </a:prstGeom>
          <a:noFill/>
        </p:spPr>
        <p:txBody>
          <a:bodyPr vert="horz" wrap="square"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050" b="0" i="0" u="none" kern="1200" spc="0">
                <a:solidFill>
                  <a:schemeClr val="tx1"/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de-DE" dirty="0"/>
              <a:t>Platzhalter: Die Überwachung und Berichterstattung über alle relevanten Risiken ist für Banken von entscheidender Bedeutung und wird auch von den Aufsichtsbehörden gefordert.</a:t>
            </a:r>
            <a:endParaRPr lang="en-US" dirty="0"/>
          </a:p>
        </p:txBody>
      </p:sp>
      <p:sp>
        <p:nvSpPr>
          <p:cNvPr id="20" name="Textplatzhalter 17">
            <a:extLst>
              <a:ext uri="{FF2B5EF4-FFF2-40B4-BE49-F238E27FC236}">
                <a16:creationId xmlns:a16="http://schemas.microsoft.com/office/drawing/2014/main" id="{D0A72AB9-68A0-44D9-A7F9-EB5C0752437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35953" y="1279477"/>
            <a:ext cx="3820287" cy="315005"/>
          </a:xfrm>
          <a:prstGeom prst="rect">
            <a:avLst/>
          </a:prstGeom>
          <a:noFill/>
        </p:spPr>
        <p:txBody>
          <a:bodyPr vert="horz" wrap="square" lIns="0" tIns="0" rIns="0" bIns="0" anchor="ctr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400" b="1" i="0" u="none" kern="1200" spc="0">
                <a:solidFill>
                  <a:schemeClr val="tx1"/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de-DE" dirty="0"/>
              <a:t>Platzhalter</a:t>
            </a:r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3BEAB2DE-3F12-43A9-B870-D44BBCE8621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172663" y="6125335"/>
            <a:ext cx="846351" cy="511613"/>
          </a:xfrm>
        </p:spPr>
        <p:txBody>
          <a:bodyPr>
            <a:normAutofit/>
          </a:bodyPr>
          <a:lstStyle>
            <a:lvl1pPr>
              <a:defRPr sz="105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7" name="Bildplatzhalter 25">
            <a:extLst>
              <a:ext uri="{FF2B5EF4-FFF2-40B4-BE49-F238E27FC236}">
                <a16:creationId xmlns:a16="http://schemas.microsoft.com/office/drawing/2014/main" id="{904C1A7B-999B-419C-9308-55166334F97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6313" y="6125335"/>
            <a:ext cx="846351" cy="511613"/>
          </a:xfrm>
        </p:spPr>
        <p:txBody>
          <a:bodyPr>
            <a:normAutofit/>
          </a:bodyPr>
          <a:lstStyle>
            <a:lvl1pPr>
              <a:defRPr sz="105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8" name="Bildplatzhalter 25">
            <a:extLst>
              <a:ext uri="{FF2B5EF4-FFF2-40B4-BE49-F238E27FC236}">
                <a16:creationId xmlns:a16="http://schemas.microsoft.com/office/drawing/2014/main" id="{25A825EB-A066-4338-B666-1DB00AB5AD4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2039962" y="6125335"/>
            <a:ext cx="846351" cy="511613"/>
          </a:xfrm>
        </p:spPr>
        <p:txBody>
          <a:bodyPr>
            <a:normAutofit/>
          </a:bodyPr>
          <a:lstStyle>
            <a:lvl1pPr>
              <a:defRPr sz="105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9" name="Bildplatzhalter 25">
            <a:extLst>
              <a:ext uri="{FF2B5EF4-FFF2-40B4-BE49-F238E27FC236}">
                <a16:creationId xmlns:a16="http://schemas.microsoft.com/office/drawing/2014/main" id="{0D17024B-1739-4AC6-9AD7-168A936E3C0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73611" y="6125335"/>
            <a:ext cx="846351" cy="511613"/>
          </a:xfrm>
        </p:spPr>
        <p:txBody>
          <a:bodyPr>
            <a:normAutofit/>
          </a:bodyPr>
          <a:lstStyle>
            <a:lvl1pPr>
              <a:defRPr sz="105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0" name="Bildplatzhalter 25">
            <a:extLst>
              <a:ext uri="{FF2B5EF4-FFF2-40B4-BE49-F238E27FC236}">
                <a16:creationId xmlns:a16="http://schemas.microsoft.com/office/drawing/2014/main" id="{61C2DADE-FA67-4143-AEEB-BDEF2218DB07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739015" y="6125335"/>
            <a:ext cx="846351" cy="511613"/>
          </a:xfrm>
        </p:spPr>
        <p:txBody>
          <a:bodyPr>
            <a:normAutofit/>
          </a:bodyPr>
          <a:lstStyle>
            <a:lvl1pPr>
              <a:defRPr sz="105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1" name="Textplatzhalter 10">
            <a:extLst>
              <a:ext uri="{FF2B5EF4-FFF2-40B4-BE49-F238E27FC236}">
                <a16:creationId xmlns:a16="http://schemas.microsoft.com/office/drawing/2014/main" id="{4407641B-2F24-4786-97C5-F80B1C50AB9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79425" y="373691"/>
            <a:ext cx="8856000" cy="219585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Folien </a:t>
            </a:r>
            <a:r>
              <a:rPr lang="de-DE" dirty="0" err="1"/>
              <a:t>Pre</a:t>
            </a:r>
            <a:r>
              <a:rPr lang="de-DE" dirty="0"/>
              <a:t>-Headline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39A61115-B1D7-4DD7-923A-24A0DF25CE0E}"/>
              </a:ext>
            </a:extLst>
          </p:cNvPr>
          <p:cNvSpPr txBox="1"/>
          <p:nvPr userDrawn="1"/>
        </p:nvSpPr>
        <p:spPr>
          <a:xfrm>
            <a:off x="9428622" y="3613083"/>
            <a:ext cx="2247442" cy="24154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pPr marL="0" lvl="0" indent="0" algn="l">
              <a:lnSpc>
                <a:spcPct val="122000"/>
              </a:lnSpc>
              <a:spcBef>
                <a:spcPts val="560"/>
              </a:spcBef>
              <a:spcAft>
                <a:spcPts val="0"/>
              </a:spcAft>
            </a:pPr>
            <a:r>
              <a:rPr lang="de-DE" sz="1400" b="1" i="0" u="none" kern="1200" spc="0" dirty="0">
                <a:solidFill>
                  <a:schemeClr val="bg1"/>
                </a:solidFill>
                <a:latin typeface="Montserrat Medium" panose="00000600000000000000" pitchFamily="2" charset="0"/>
              </a:rPr>
              <a:t>INSIGHTS</a:t>
            </a:r>
          </a:p>
        </p:txBody>
      </p:sp>
      <p:sp>
        <p:nvSpPr>
          <p:cNvPr id="44" name="Textplatzhalter 17">
            <a:extLst>
              <a:ext uri="{FF2B5EF4-FFF2-40B4-BE49-F238E27FC236}">
                <a16:creationId xmlns:a16="http://schemas.microsoft.com/office/drawing/2014/main" id="{66DA6EB2-F020-4938-B204-A26413AD0B0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79425" y="3700141"/>
            <a:ext cx="3820287" cy="315005"/>
          </a:xfrm>
          <a:prstGeom prst="rect">
            <a:avLst/>
          </a:prstGeom>
          <a:noFill/>
        </p:spPr>
        <p:txBody>
          <a:bodyPr vert="horz" wrap="square" lIns="0" tIns="0" rIns="0" bIns="0" anchor="ctr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400" b="1" i="0" u="none" kern="1200" spc="0">
                <a:solidFill>
                  <a:schemeClr val="tx1"/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de-DE" dirty="0"/>
              <a:t>Platzhalter</a:t>
            </a:r>
          </a:p>
        </p:txBody>
      </p:sp>
      <p:sp>
        <p:nvSpPr>
          <p:cNvPr id="46" name="Textplatzhalter 17">
            <a:extLst>
              <a:ext uri="{FF2B5EF4-FFF2-40B4-BE49-F238E27FC236}">
                <a16:creationId xmlns:a16="http://schemas.microsoft.com/office/drawing/2014/main" id="{D5A3E043-6334-46C1-9C2E-772DD11CB65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35953" y="3700141"/>
            <a:ext cx="3820287" cy="315005"/>
          </a:xfrm>
          <a:prstGeom prst="rect">
            <a:avLst/>
          </a:prstGeom>
          <a:noFill/>
        </p:spPr>
        <p:txBody>
          <a:bodyPr vert="horz" wrap="square" lIns="0" tIns="0" rIns="0" bIns="0" anchor="ctr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400" b="1" i="0" u="none" kern="1200" spc="0">
                <a:solidFill>
                  <a:schemeClr val="tx1"/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de-DE" dirty="0"/>
              <a:t>Platzhalter</a:t>
            </a:r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44F61CE1-2CA9-4081-8390-79CFCEE15F0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28621" y="3945693"/>
            <a:ext cx="2283953" cy="2360099"/>
          </a:xfrm>
          <a:prstGeom prst="rect">
            <a:avLst/>
          </a:prstGeom>
        </p:spPr>
        <p:txBody>
          <a:bodyPr vert="horz" wrap="square"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050" b="1" i="0" u="none" kern="1200" spc="0">
                <a:solidFill>
                  <a:schemeClr val="bg1">
                    <a:lumMod val="100000"/>
                  </a:schemeClr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de-DE" dirty="0"/>
              <a:t>Vorausschauende Analyse lassen sich leicht erstellen, wenn die Daten sorgfältig verstanden, modelliert und bereinigt werden.</a:t>
            </a:r>
            <a:endParaRPr lang="en-US" dirty="0"/>
          </a:p>
        </p:txBody>
      </p:sp>
      <p:sp>
        <p:nvSpPr>
          <p:cNvPr id="37" name="Content Placeholder 8">
            <a:extLst>
              <a:ext uri="{FF2B5EF4-FFF2-40B4-BE49-F238E27FC236}">
                <a16:creationId xmlns:a16="http://schemas.microsoft.com/office/drawing/2014/main" id="{32306F30-044F-4D75-ABFC-4A05A51AB5EE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479425" y="4070255"/>
            <a:ext cx="3820287" cy="1923424"/>
          </a:xfrm>
        </p:spPr>
        <p:txBody>
          <a:bodyPr lIns="0" tIns="0" rIns="0" bIns="0"/>
          <a:lstStyle>
            <a:lvl1pPr marL="0" indent="0">
              <a:defRPr sz="1050"/>
            </a:lvl1pPr>
            <a:lvl2pPr marL="135000" indent="-135000">
              <a:defRPr sz="1050"/>
            </a:lvl2pPr>
            <a:lvl3pPr marL="270000" indent="-135000">
              <a:defRPr sz="1050"/>
            </a:lvl3pPr>
            <a:lvl4pPr marL="405000" indent="-135000">
              <a:defRPr sz="1050"/>
            </a:lvl4pPr>
            <a:lvl5pPr marL="540000" indent="-135000">
              <a:defRPr sz="105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9" name="Content Placeholder 8">
            <a:extLst>
              <a:ext uri="{FF2B5EF4-FFF2-40B4-BE49-F238E27FC236}">
                <a16:creationId xmlns:a16="http://schemas.microsoft.com/office/drawing/2014/main" id="{3A06BAFF-C027-4E5E-8690-FE0858F0904D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4435953" y="4070255"/>
            <a:ext cx="3820287" cy="1923424"/>
          </a:xfrm>
        </p:spPr>
        <p:txBody>
          <a:bodyPr lIns="0" tIns="0" rIns="0" bIns="0"/>
          <a:lstStyle>
            <a:lvl1pPr marL="0" indent="0">
              <a:defRPr sz="1050"/>
            </a:lvl1pPr>
            <a:lvl2pPr marL="135000" indent="-135000">
              <a:defRPr sz="1050"/>
            </a:lvl2pPr>
            <a:lvl3pPr marL="270000" indent="-135000">
              <a:defRPr sz="1050"/>
            </a:lvl3pPr>
            <a:lvl4pPr marL="405000" indent="-135000">
              <a:defRPr sz="1050"/>
            </a:lvl4pPr>
            <a:lvl5pPr marL="540000" indent="-135000">
              <a:defRPr sz="105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AC643E4E-4DFF-492B-8A88-1E49F60EB56E}"/>
              </a:ext>
            </a:extLst>
          </p:cNvPr>
          <p:cNvSpPr txBox="1"/>
          <p:nvPr userDrawn="1"/>
        </p:nvSpPr>
        <p:spPr>
          <a:xfrm>
            <a:off x="9428623" y="2073600"/>
            <a:ext cx="816307" cy="24154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</a:pPr>
            <a:r>
              <a:rPr lang="de-DE" sz="1200" b="1" i="0" u="none" kern="1200" spc="0">
                <a:solidFill>
                  <a:schemeClr val="bg1"/>
                </a:solidFill>
                <a:latin typeface="+mn-lt"/>
              </a:rPr>
              <a:t>Zeitraum</a:t>
            </a:r>
            <a:endParaRPr lang="de-DE" sz="1200" b="1" i="0" u="none" kern="1200" spc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B692A778-8817-4BF1-9CA3-AF81360BF974}"/>
              </a:ext>
            </a:extLst>
          </p:cNvPr>
          <p:cNvSpPr txBox="1"/>
          <p:nvPr userDrawn="1"/>
        </p:nvSpPr>
        <p:spPr>
          <a:xfrm>
            <a:off x="9428622" y="1649592"/>
            <a:ext cx="816307" cy="38287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</a:pPr>
            <a:r>
              <a:rPr lang="de-DE" sz="1200" b="1" i="0" u="none" kern="1200" spc="0">
                <a:solidFill>
                  <a:schemeClr val="bg1"/>
                </a:solidFill>
                <a:latin typeface="+mn-lt"/>
              </a:rPr>
              <a:t>Kunde</a:t>
            </a:r>
            <a:endParaRPr lang="de-DE" sz="1200" b="1" i="0" u="none" kern="1200" spc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F313C1FE-AB4D-4746-883F-3B0586382CF9}"/>
              </a:ext>
            </a:extLst>
          </p:cNvPr>
          <p:cNvSpPr txBox="1"/>
          <p:nvPr userDrawn="1"/>
        </p:nvSpPr>
        <p:spPr>
          <a:xfrm>
            <a:off x="9428622" y="2468924"/>
            <a:ext cx="816307" cy="24154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</a:pPr>
            <a:r>
              <a:rPr lang="de-DE" sz="1200" b="1" i="0" u="none" kern="1200" spc="0">
                <a:solidFill>
                  <a:schemeClr val="bg1"/>
                </a:solidFill>
                <a:latin typeface="+mn-lt"/>
              </a:rPr>
              <a:t>Umfang</a:t>
            </a:r>
            <a:endParaRPr lang="de-DE" sz="1200" b="1" i="0" u="none" kern="1200" spc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15F3BD1D-0A4B-4B52-AE4D-8F5F30731479}"/>
              </a:ext>
            </a:extLst>
          </p:cNvPr>
          <p:cNvSpPr txBox="1"/>
          <p:nvPr userDrawn="1"/>
        </p:nvSpPr>
        <p:spPr>
          <a:xfrm>
            <a:off x="9428623" y="2891968"/>
            <a:ext cx="816307" cy="537032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</a:pPr>
            <a:r>
              <a:rPr lang="de-DE" sz="1200" b="1" i="0" u="none" kern="1200" spc="0">
                <a:solidFill>
                  <a:schemeClr val="bg1"/>
                </a:solidFill>
                <a:latin typeface="+mn-lt"/>
              </a:rPr>
              <a:t>Rolle</a:t>
            </a:r>
            <a:endParaRPr lang="de-DE" sz="1200" b="1" i="0" u="none" kern="1200" spc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8" name="Textplatzhalter 49">
            <a:extLst>
              <a:ext uri="{FF2B5EF4-FFF2-40B4-BE49-F238E27FC236}">
                <a16:creationId xmlns:a16="http://schemas.microsoft.com/office/drawing/2014/main" id="{28C89A33-7B57-46CA-8E8F-7166AC264B6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265714" y="1649592"/>
            <a:ext cx="1887555" cy="382879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200" b="0" i="0" u="none" kern="1200" spc="0">
                <a:solidFill>
                  <a:schemeClr val="tx2">
                    <a:lumMod val="100000"/>
                  </a:schemeClr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de-DE"/>
              <a:t>Kundenname bis max. 2 Zeilen</a:t>
            </a:r>
            <a:endParaRPr lang="de-DE" dirty="0"/>
          </a:p>
        </p:txBody>
      </p:sp>
      <p:sp>
        <p:nvSpPr>
          <p:cNvPr id="59" name="Textplatzhalter 49">
            <a:extLst>
              <a:ext uri="{FF2B5EF4-FFF2-40B4-BE49-F238E27FC236}">
                <a16:creationId xmlns:a16="http://schemas.microsoft.com/office/drawing/2014/main" id="{E99366BA-38AD-42CB-BD22-DC05A01DD27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0265714" y="2073600"/>
            <a:ext cx="1887555" cy="241541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200" b="0" i="0" u="none" kern="1200" spc="0">
                <a:solidFill>
                  <a:schemeClr val="tx2">
                    <a:lumMod val="100000"/>
                  </a:schemeClr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de-DE"/>
              <a:t>20XX – 20XX</a:t>
            </a:r>
            <a:endParaRPr lang="de-DE" dirty="0"/>
          </a:p>
        </p:txBody>
      </p:sp>
      <p:sp>
        <p:nvSpPr>
          <p:cNvPr id="60" name="Textplatzhalter 49">
            <a:extLst>
              <a:ext uri="{FF2B5EF4-FFF2-40B4-BE49-F238E27FC236}">
                <a16:creationId xmlns:a16="http://schemas.microsoft.com/office/drawing/2014/main" id="{44782BD5-3026-4B89-99BE-27F74855133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265714" y="2468924"/>
            <a:ext cx="1887555" cy="241541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200" b="0" i="0" u="none" kern="1200" spc="0">
                <a:solidFill>
                  <a:schemeClr val="tx2">
                    <a:lumMod val="100000"/>
                  </a:schemeClr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de-DE" dirty="0"/>
              <a:t>50 Personentage</a:t>
            </a:r>
          </a:p>
        </p:txBody>
      </p:sp>
      <p:sp>
        <p:nvSpPr>
          <p:cNvPr id="61" name="Textplatzhalter 49">
            <a:extLst>
              <a:ext uri="{FF2B5EF4-FFF2-40B4-BE49-F238E27FC236}">
                <a16:creationId xmlns:a16="http://schemas.microsoft.com/office/drawing/2014/main" id="{783554CB-C92E-40C9-9D2A-94DCC705534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265714" y="2891968"/>
            <a:ext cx="1887555" cy="537032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defRPr sz="1200" b="0" i="0" u="none" kern="1200" spc="0">
                <a:solidFill>
                  <a:schemeClr val="tx2">
                    <a:lumMod val="100000"/>
                  </a:schemeClr>
                </a:solidFill>
                <a:latin typeface="Montserrat Medium" panose="00000600000000000000" pitchFamily="2" charset="0"/>
              </a:defRPr>
            </a:lvl1pPr>
          </a:lstStyle>
          <a:p>
            <a:pPr lvl="0"/>
            <a:r>
              <a:rPr lang="de-DE" dirty="0"/>
              <a:t>Architekt, Data-Ingenieur, BI Expert</a:t>
            </a:r>
          </a:p>
        </p:txBody>
      </p:sp>
    </p:spTree>
    <p:extLst>
      <p:ext uri="{BB962C8B-B14F-4D97-AF65-F5344CB8AC3E}">
        <p14:creationId xmlns:p14="http://schemas.microsoft.com/office/powerpoint/2010/main" val="4160193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79425" y="603373"/>
            <a:ext cx="11233149" cy="593602"/>
          </a:xfrm>
          <a:prstGeom prst="rect">
            <a:avLst/>
          </a:prstGeom>
        </p:spPr>
        <p:txBody>
          <a:bodyPr vert="horz" wrap="square" lIns="0" tIns="72000" rIns="0" bIns="0" rtlCol="0" anchor="t" anchorCtr="0">
            <a:noAutofit/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79426" y="1268413"/>
            <a:ext cx="11233150" cy="5040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oliennummernplatzhalter 2">
            <a:extLst>
              <a:ext uri="{FF2B5EF4-FFF2-40B4-BE49-F238E27FC236}">
                <a16:creationId xmlns:a16="http://schemas.microsoft.com/office/drawing/2014/main" id="{6C41A1D5-461D-4A93-B0F7-80DC136D19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12575" y="373691"/>
            <a:ext cx="479425" cy="219585"/>
          </a:xfrm>
          <a:prstGeom prst="rect">
            <a:avLst/>
          </a:prstGeom>
        </p:spPr>
        <p:txBody>
          <a:bodyPr lIns="0" tIns="0" rIns="0" bIns="0" anchor="t"/>
          <a:lstStyle>
            <a:lvl1pPr algn="ctr">
              <a:defRPr sz="1400">
                <a:solidFill>
                  <a:schemeClr val="tx2"/>
                </a:solidFill>
              </a:defRPr>
            </a:lvl1pPr>
          </a:lstStyle>
          <a:p>
            <a:fld id="{70B63CAE-2CBB-47A6-9FDC-55E3E16A1DDB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3" r:id="rId2"/>
    <p:sldLayoutId id="2147483652" r:id="rId3"/>
    <p:sldLayoutId id="2147483654" r:id="rId4"/>
    <p:sldLayoutId id="2147483656" r:id="rId5"/>
    <p:sldLayoutId id="2147483655" r:id="rId6"/>
    <p:sldLayoutId id="2147483660" r:id="rId7"/>
    <p:sldLayoutId id="2147483661" r:id="rId8"/>
    <p:sldLayoutId id="2147483662" r:id="rId9"/>
    <p:sldLayoutId id="2147483663" r:id="rId10"/>
    <p:sldLayoutId id="2147483657" r:id="rId11"/>
    <p:sldLayoutId id="2147483658" r:id="rId12"/>
    <p:sldLayoutId id="2147483659" r:id="rId13"/>
  </p:sldLayoutIdLst>
  <p:hf hdr="0" ftr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spcAft>
          <a:spcPts val="0"/>
        </a:spcAft>
        <a:buNone/>
        <a:defRPr sz="3500" b="1" i="0" u="none" kern="1200" spc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000"/>
        </a:spcBef>
        <a:buFont typeface="Arial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3974" userDrawn="1">
          <p15:clr>
            <a:srgbClr val="F26B43"/>
          </p15:clr>
        </p15:guide>
        <p15:guide id="4" orient="horz" pos="799" userDrawn="1">
          <p15:clr>
            <a:srgbClr val="F26B43"/>
          </p15:clr>
        </p15:guide>
        <p15:guide id="5" pos="302" userDrawn="1">
          <p15:clr>
            <a:srgbClr val="F26B43"/>
          </p15:clr>
        </p15:guide>
        <p15:guide id="6" pos="7378" userDrawn="1">
          <p15:clr>
            <a:srgbClr val="F26B43"/>
          </p15:clr>
        </p15:guide>
        <p15:guide id="7" orient="horz" pos="75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ustomXml" Target="../ink/ink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BA177F-635C-431C-ADFE-E632A4F8B5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02611" y="2594550"/>
            <a:ext cx="3609964" cy="834450"/>
          </a:xfrm>
        </p:spPr>
        <p:txBody>
          <a:bodyPr/>
          <a:lstStyle/>
          <a:p>
            <a:r>
              <a:rPr lang="de-DE" dirty="0" err="1"/>
              <a:t>Meet</a:t>
            </a:r>
            <a:r>
              <a:rPr lang="de-DE" dirty="0"/>
              <a:t> </a:t>
            </a:r>
            <a:r>
              <a:rPr lang="de-DE" dirty="0" err="1"/>
              <a:t>Now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810C0F3-AB66-4951-83E3-46900DAB7C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Effortlessly book rooms and manage your meetings.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B93CE81-6B86-4CFC-A375-BAB76243096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19. Sep 2024</a:t>
            </a:r>
          </a:p>
        </p:txBody>
      </p:sp>
    </p:spTree>
    <p:extLst>
      <p:ext uri="{BB962C8B-B14F-4D97-AF65-F5344CB8AC3E}">
        <p14:creationId xmlns:p14="http://schemas.microsoft.com/office/powerpoint/2010/main" val="27240170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2">
            <a:extLst>
              <a:ext uri="{FF2B5EF4-FFF2-40B4-BE49-F238E27FC236}">
                <a16:creationId xmlns:a16="http://schemas.microsoft.com/office/drawing/2014/main" id="{EEF8F99F-16DA-1347-AC46-E5EB99CC1174}"/>
              </a:ext>
            </a:extLst>
          </p:cNvPr>
          <p:cNvSpPr txBox="1">
            <a:spLocks/>
          </p:cNvSpPr>
          <p:nvPr/>
        </p:nvSpPr>
        <p:spPr>
          <a:xfrm>
            <a:off x="4114800" y="1862074"/>
            <a:ext cx="4875884" cy="488147"/>
          </a:xfrm>
          <a:prstGeom prst="rect">
            <a:avLst/>
          </a:prstGeom>
        </p:spPr>
        <p:txBody>
          <a:bodyPr vert="horz" wrap="square" lIns="4572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750"/>
              </a:lnSpc>
            </a:pPr>
            <a:r>
              <a:rPr lang="en-US" sz="1200" dirty="0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Enable seamless synchronization of bookings with Google Calendar for better scheduling and visibility.</a:t>
            </a:r>
            <a:endParaRPr lang="de-DE" sz="1200" dirty="0">
              <a:solidFill>
                <a:schemeClr val="tx1"/>
              </a:solidFill>
              <a:latin typeface="Montserrat Medium" panose="00000600000000000000" pitchFamily="2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6A821A8-4487-6B41-93D0-FEE1C96491B0}"/>
              </a:ext>
            </a:extLst>
          </p:cNvPr>
          <p:cNvSpPr txBox="1"/>
          <p:nvPr/>
        </p:nvSpPr>
        <p:spPr>
          <a:xfrm>
            <a:off x="3978623" y="1524942"/>
            <a:ext cx="3105337" cy="33855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de-DE" sz="1600" b="1" dirty="0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Google </a:t>
            </a:r>
            <a:r>
              <a:rPr lang="de-DE" sz="1600" b="1" dirty="0" err="1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Calendar</a:t>
            </a:r>
            <a:r>
              <a:rPr lang="de-DE" sz="1600" b="1" dirty="0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 Integration</a:t>
            </a:r>
          </a:p>
        </p:txBody>
      </p:sp>
      <p:sp>
        <p:nvSpPr>
          <p:cNvPr id="22" name="Freeform 4">
            <a:extLst>
              <a:ext uri="{FF2B5EF4-FFF2-40B4-BE49-F238E27FC236}">
                <a16:creationId xmlns:a16="http://schemas.microsoft.com/office/drawing/2014/main" id="{8000D584-550E-5E4A-A5C7-88DCFF5EAA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90653" y="1368870"/>
            <a:ext cx="1863092" cy="1167111"/>
          </a:xfrm>
          <a:custGeom>
            <a:avLst/>
            <a:gdLst>
              <a:gd name="T0" fmla="*/ 0 w 2300"/>
              <a:gd name="T1" fmla="*/ 1119 h 1443"/>
              <a:gd name="T2" fmla="*/ 0 w 2300"/>
              <a:gd name="T3" fmla="*/ 326 h 1443"/>
              <a:gd name="T4" fmla="*/ 0 w 2300"/>
              <a:gd name="T5" fmla="*/ 326 h 1443"/>
              <a:gd name="T6" fmla="*/ 71 w 2300"/>
              <a:gd name="T7" fmla="*/ 255 h 1443"/>
              <a:gd name="T8" fmla="*/ 1151 w 2300"/>
              <a:gd name="T9" fmla="*/ 255 h 1443"/>
              <a:gd name="T10" fmla="*/ 1151 w 2300"/>
              <a:gd name="T11" fmla="*/ 255 h 1443"/>
              <a:gd name="T12" fmla="*/ 1223 w 2300"/>
              <a:gd name="T13" fmla="*/ 184 h 1443"/>
              <a:gd name="T14" fmla="*/ 1223 w 2300"/>
              <a:gd name="T15" fmla="*/ 91 h 1443"/>
              <a:gd name="T16" fmla="*/ 1223 w 2300"/>
              <a:gd name="T17" fmla="*/ 91 h 1443"/>
              <a:gd name="T18" fmla="*/ 1334 w 2300"/>
              <a:gd name="T19" fmla="*/ 33 h 1443"/>
              <a:gd name="T20" fmla="*/ 2257 w 2300"/>
              <a:gd name="T21" fmla="*/ 662 h 1443"/>
              <a:gd name="T22" fmla="*/ 2257 w 2300"/>
              <a:gd name="T23" fmla="*/ 662 h 1443"/>
              <a:gd name="T24" fmla="*/ 2257 w 2300"/>
              <a:gd name="T25" fmla="*/ 780 h 1443"/>
              <a:gd name="T26" fmla="*/ 1334 w 2300"/>
              <a:gd name="T27" fmla="*/ 1409 h 1443"/>
              <a:gd name="T28" fmla="*/ 1334 w 2300"/>
              <a:gd name="T29" fmla="*/ 1409 h 1443"/>
              <a:gd name="T30" fmla="*/ 1223 w 2300"/>
              <a:gd name="T31" fmla="*/ 1350 h 1443"/>
              <a:gd name="T32" fmla="*/ 1223 w 2300"/>
              <a:gd name="T33" fmla="*/ 1261 h 1443"/>
              <a:gd name="T34" fmla="*/ 1223 w 2300"/>
              <a:gd name="T35" fmla="*/ 1261 h 1443"/>
              <a:gd name="T36" fmla="*/ 1151 w 2300"/>
              <a:gd name="T37" fmla="*/ 1190 h 1443"/>
              <a:gd name="T38" fmla="*/ 71 w 2300"/>
              <a:gd name="T39" fmla="*/ 1190 h 1443"/>
              <a:gd name="T40" fmla="*/ 71 w 2300"/>
              <a:gd name="T41" fmla="*/ 1190 h 1443"/>
              <a:gd name="T42" fmla="*/ 0 w 2300"/>
              <a:gd name="T43" fmla="*/ 1119 h 14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300" h="1443">
                <a:moveTo>
                  <a:pt x="0" y="1119"/>
                </a:moveTo>
                <a:lnTo>
                  <a:pt x="0" y="326"/>
                </a:lnTo>
                <a:lnTo>
                  <a:pt x="0" y="326"/>
                </a:lnTo>
                <a:cubicBezTo>
                  <a:pt x="0" y="287"/>
                  <a:pt x="33" y="255"/>
                  <a:pt x="71" y="255"/>
                </a:cubicBezTo>
                <a:lnTo>
                  <a:pt x="1151" y="255"/>
                </a:lnTo>
                <a:lnTo>
                  <a:pt x="1151" y="255"/>
                </a:lnTo>
                <a:cubicBezTo>
                  <a:pt x="1190" y="255"/>
                  <a:pt x="1223" y="223"/>
                  <a:pt x="1223" y="184"/>
                </a:cubicBezTo>
                <a:lnTo>
                  <a:pt x="1223" y="91"/>
                </a:lnTo>
                <a:lnTo>
                  <a:pt x="1223" y="91"/>
                </a:lnTo>
                <a:cubicBezTo>
                  <a:pt x="1223" y="34"/>
                  <a:pt x="1287" y="0"/>
                  <a:pt x="1334" y="33"/>
                </a:cubicBezTo>
                <a:lnTo>
                  <a:pt x="2257" y="662"/>
                </a:lnTo>
                <a:lnTo>
                  <a:pt x="2257" y="662"/>
                </a:lnTo>
                <a:cubicBezTo>
                  <a:pt x="2299" y="690"/>
                  <a:pt x="2299" y="751"/>
                  <a:pt x="2257" y="780"/>
                </a:cubicBezTo>
                <a:lnTo>
                  <a:pt x="1334" y="1409"/>
                </a:lnTo>
                <a:lnTo>
                  <a:pt x="1334" y="1409"/>
                </a:lnTo>
                <a:cubicBezTo>
                  <a:pt x="1287" y="1442"/>
                  <a:pt x="1223" y="1407"/>
                  <a:pt x="1223" y="1350"/>
                </a:cubicBezTo>
                <a:lnTo>
                  <a:pt x="1223" y="1261"/>
                </a:lnTo>
                <a:lnTo>
                  <a:pt x="1223" y="1261"/>
                </a:lnTo>
                <a:cubicBezTo>
                  <a:pt x="1223" y="1221"/>
                  <a:pt x="1190" y="1190"/>
                  <a:pt x="1151" y="1190"/>
                </a:cubicBezTo>
                <a:lnTo>
                  <a:pt x="71" y="1190"/>
                </a:lnTo>
                <a:lnTo>
                  <a:pt x="71" y="1190"/>
                </a:lnTo>
                <a:cubicBezTo>
                  <a:pt x="33" y="1190"/>
                  <a:pt x="0" y="1158"/>
                  <a:pt x="0" y="1119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3266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0FA1CE4E-0DF3-1F4F-98B9-22E1EB5A7EFA}"/>
              </a:ext>
            </a:extLst>
          </p:cNvPr>
          <p:cNvSpPr txBox="1">
            <a:spLocks/>
          </p:cNvSpPr>
          <p:nvPr/>
        </p:nvSpPr>
        <p:spPr>
          <a:xfrm>
            <a:off x="4953000" y="3722948"/>
            <a:ext cx="4875884" cy="488147"/>
          </a:xfrm>
          <a:prstGeom prst="rect">
            <a:avLst/>
          </a:prstGeom>
        </p:spPr>
        <p:txBody>
          <a:bodyPr vert="horz" wrap="square" lIns="4572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750"/>
              </a:lnSpc>
            </a:pPr>
            <a:r>
              <a:rPr lang="en-US" sz="1200" dirty="0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Implement functionality to add </a:t>
            </a:r>
            <a:r>
              <a:rPr lang="en-US" sz="1200" dirty="0" err="1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participents</a:t>
            </a:r>
            <a:r>
              <a:rPr lang="en-US" sz="1200" dirty="0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 at the time of booking, streamlining the reservation process.</a:t>
            </a:r>
            <a:endParaRPr lang="de-DE" sz="1200" dirty="0">
              <a:solidFill>
                <a:schemeClr val="tx1"/>
              </a:solidFill>
              <a:latin typeface="Montserrat Medium" panose="00000600000000000000" pitchFamily="2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239EDAE-0F5C-5646-A07E-24223453D03E}"/>
              </a:ext>
            </a:extLst>
          </p:cNvPr>
          <p:cNvSpPr txBox="1"/>
          <p:nvPr/>
        </p:nvSpPr>
        <p:spPr>
          <a:xfrm>
            <a:off x="4802044" y="3385816"/>
            <a:ext cx="3177473" cy="33855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de-DE" sz="1600" b="1" dirty="0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Meeting Participent Addition</a:t>
            </a:r>
          </a:p>
        </p:txBody>
      </p:sp>
      <p:sp>
        <p:nvSpPr>
          <p:cNvPr id="23" name="Freeform 5">
            <a:extLst>
              <a:ext uri="{FF2B5EF4-FFF2-40B4-BE49-F238E27FC236}">
                <a16:creationId xmlns:a16="http://schemas.microsoft.com/office/drawing/2014/main" id="{8D03D583-4840-E148-8D5C-5553119036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15123" y="3229744"/>
            <a:ext cx="1863092" cy="1167111"/>
          </a:xfrm>
          <a:custGeom>
            <a:avLst/>
            <a:gdLst>
              <a:gd name="T0" fmla="*/ 0 w 2300"/>
              <a:gd name="T1" fmla="*/ 1117 h 1441"/>
              <a:gd name="T2" fmla="*/ 0 w 2300"/>
              <a:gd name="T3" fmla="*/ 326 h 1441"/>
              <a:gd name="T4" fmla="*/ 0 w 2300"/>
              <a:gd name="T5" fmla="*/ 326 h 1441"/>
              <a:gd name="T6" fmla="*/ 71 w 2300"/>
              <a:gd name="T7" fmla="*/ 254 h 1441"/>
              <a:gd name="T8" fmla="*/ 1152 w 2300"/>
              <a:gd name="T9" fmla="*/ 254 h 1441"/>
              <a:gd name="T10" fmla="*/ 1152 w 2300"/>
              <a:gd name="T11" fmla="*/ 254 h 1441"/>
              <a:gd name="T12" fmla="*/ 1223 w 2300"/>
              <a:gd name="T13" fmla="*/ 183 h 1441"/>
              <a:gd name="T14" fmla="*/ 1223 w 2300"/>
              <a:gd name="T15" fmla="*/ 91 h 1441"/>
              <a:gd name="T16" fmla="*/ 1223 w 2300"/>
              <a:gd name="T17" fmla="*/ 91 h 1441"/>
              <a:gd name="T18" fmla="*/ 1335 w 2300"/>
              <a:gd name="T19" fmla="*/ 32 h 1441"/>
              <a:gd name="T20" fmla="*/ 2258 w 2300"/>
              <a:gd name="T21" fmla="*/ 662 h 1441"/>
              <a:gd name="T22" fmla="*/ 2258 w 2300"/>
              <a:gd name="T23" fmla="*/ 662 h 1441"/>
              <a:gd name="T24" fmla="*/ 2258 w 2300"/>
              <a:gd name="T25" fmla="*/ 779 h 1441"/>
              <a:gd name="T26" fmla="*/ 1335 w 2300"/>
              <a:gd name="T27" fmla="*/ 1408 h 1441"/>
              <a:gd name="T28" fmla="*/ 1335 w 2300"/>
              <a:gd name="T29" fmla="*/ 1408 h 1441"/>
              <a:gd name="T30" fmla="*/ 1223 w 2300"/>
              <a:gd name="T31" fmla="*/ 1349 h 1441"/>
              <a:gd name="T32" fmla="*/ 1223 w 2300"/>
              <a:gd name="T33" fmla="*/ 1260 h 1441"/>
              <a:gd name="T34" fmla="*/ 1223 w 2300"/>
              <a:gd name="T35" fmla="*/ 1260 h 1441"/>
              <a:gd name="T36" fmla="*/ 1152 w 2300"/>
              <a:gd name="T37" fmla="*/ 1189 h 1441"/>
              <a:gd name="T38" fmla="*/ 71 w 2300"/>
              <a:gd name="T39" fmla="*/ 1189 h 1441"/>
              <a:gd name="T40" fmla="*/ 71 w 2300"/>
              <a:gd name="T41" fmla="*/ 1189 h 1441"/>
              <a:gd name="T42" fmla="*/ 0 w 2300"/>
              <a:gd name="T43" fmla="*/ 1117 h 14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300" h="1441">
                <a:moveTo>
                  <a:pt x="0" y="1117"/>
                </a:moveTo>
                <a:lnTo>
                  <a:pt x="0" y="326"/>
                </a:lnTo>
                <a:lnTo>
                  <a:pt x="0" y="326"/>
                </a:lnTo>
                <a:cubicBezTo>
                  <a:pt x="0" y="286"/>
                  <a:pt x="31" y="254"/>
                  <a:pt x="71" y="254"/>
                </a:cubicBezTo>
                <a:lnTo>
                  <a:pt x="1152" y="254"/>
                </a:lnTo>
                <a:lnTo>
                  <a:pt x="1152" y="254"/>
                </a:lnTo>
                <a:cubicBezTo>
                  <a:pt x="1191" y="254"/>
                  <a:pt x="1223" y="223"/>
                  <a:pt x="1223" y="183"/>
                </a:cubicBezTo>
                <a:lnTo>
                  <a:pt x="1223" y="91"/>
                </a:lnTo>
                <a:lnTo>
                  <a:pt x="1223" y="91"/>
                </a:lnTo>
                <a:cubicBezTo>
                  <a:pt x="1223" y="34"/>
                  <a:pt x="1287" y="0"/>
                  <a:pt x="1335" y="32"/>
                </a:cubicBezTo>
                <a:lnTo>
                  <a:pt x="2258" y="662"/>
                </a:lnTo>
                <a:lnTo>
                  <a:pt x="2258" y="662"/>
                </a:lnTo>
                <a:cubicBezTo>
                  <a:pt x="2299" y="690"/>
                  <a:pt x="2299" y="751"/>
                  <a:pt x="2258" y="779"/>
                </a:cubicBezTo>
                <a:lnTo>
                  <a:pt x="1335" y="1408"/>
                </a:lnTo>
                <a:lnTo>
                  <a:pt x="1335" y="1408"/>
                </a:lnTo>
                <a:cubicBezTo>
                  <a:pt x="1287" y="1440"/>
                  <a:pt x="1223" y="1406"/>
                  <a:pt x="1223" y="1349"/>
                </a:cubicBezTo>
                <a:lnTo>
                  <a:pt x="1223" y="1260"/>
                </a:lnTo>
                <a:lnTo>
                  <a:pt x="1223" y="1260"/>
                </a:lnTo>
                <a:cubicBezTo>
                  <a:pt x="1223" y="1221"/>
                  <a:pt x="1191" y="1189"/>
                  <a:pt x="1152" y="1189"/>
                </a:cubicBezTo>
                <a:lnTo>
                  <a:pt x="71" y="1189"/>
                </a:lnTo>
                <a:lnTo>
                  <a:pt x="71" y="1189"/>
                </a:lnTo>
                <a:cubicBezTo>
                  <a:pt x="31" y="1189"/>
                  <a:pt x="0" y="1157"/>
                  <a:pt x="0" y="1117"/>
                </a:cubicBez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3266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C664376D-80B9-564C-AF71-DFF7DF801962}"/>
              </a:ext>
            </a:extLst>
          </p:cNvPr>
          <p:cNvSpPr txBox="1">
            <a:spLocks/>
          </p:cNvSpPr>
          <p:nvPr/>
        </p:nvSpPr>
        <p:spPr>
          <a:xfrm>
            <a:off x="5791200" y="5583822"/>
            <a:ext cx="4875884" cy="488147"/>
          </a:xfrm>
          <a:prstGeom prst="rect">
            <a:avLst/>
          </a:prstGeom>
        </p:spPr>
        <p:txBody>
          <a:bodyPr vert="horz" wrap="square" lIns="4572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750"/>
              </a:lnSpc>
            </a:pPr>
            <a:r>
              <a:rPr lang="en-US" sz="1200" dirty="0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Automatically send reminder emails to users prior to their bookings, reducing no-shows and improving user experience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89AA366-826B-4B4B-ACE9-13CF0C3D6981}"/>
              </a:ext>
            </a:extLst>
          </p:cNvPr>
          <p:cNvSpPr txBox="1"/>
          <p:nvPr/>
        </p:nvSpPr>
        <p:spPr>
          <a:xfrm>
            <a:off x="5625464" y="5246690"/>
            <a:ext cx="2861681" cy="33855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de-DE" sz="1600" b="1" dirty="0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Booking </a:t>
            </a:r>
            <a:r>
              <a:rPr lang="de-DE" sz="1600" b="1" dirty="0" err="1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Reminder</a:t>
            </a:r>
            <a:r>
              <a:rPr lang="de-DE" sz="1600" b="1" dirty="0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 Emails</a:t>
            </a:r>
          </a:p>
        </p:txBody>
      </p:sp>
      <p:sp>
        <p:nvSpPr>
          <p:cNvPr id="24" name="Freeform 6">
            <a:extLst>
              <a:ext uri="{FF2B5EF4-FFF2-40B4-BE49-F238E27FC236}">
                <a16:creationId xmlns:a16="http://schemas.microsoft.com/office/drawing/2014/main" id="{B36DC836-815B-7B49-BE71-53FEF16239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39595" y="5090618"/>
            <a:ext cx="1863092" cy="1167111"/>
          </a:xfrm>
          <a:custGeom>
            <a:avLst/>
            <a:gdLst>
              <a:gd name="T0" fmla="*/ 0 w 2300"/>
              <a:gd name="T1" fmla="*/ 1118 h 1442"/>
              <a:gd name="T2" fmla="*/ 0 w 2300"/>
              <a:gd name="T3" fmla="*/ 326 h 1442"/>
              <a:gd name="T4" fmla="*/ 0 w 2300"/>
              <a:gd name="T5" fmla="*/ 326 h 1442"/>
              <a:gd name="T6" fmla="*/ 71 w 2300"/>
              <a:gd name="T7" fmla="*/ 254 h 1442"/>
              <a:gd name="T8" fmla="*/ 1152 w 2300"/>
              <a:gd name="T9" fmla="*/ 254 h 1442"/>
              <a:gd name="T10" fmla="*/ 1152 w 2300"/>
              <a:gd name="T11" fmla="*/ 254 h 1442"/>
              <a:gd name="T12" fmla="*/ 1223 w 2300"/>
              <a:gd name="T13" fmla="*/ 183 h 1442"/>
              <a:gd name="T14" fmla="*/ 1223 w 2300"/>
              <a:gd name="T15" fmla="*/ 91 h 1442"/>
              <a:gd name="T16" fmla="*/ 1223 w 2300"/>
              <a:gd name="T17" fmla="*/ 91 h 1442"/>
              <a:gd name="T18" fmla="*/ 1334 w 2300"/>
              <a:gd name="T19" fmla="*/ 32 h 1442"/>
              <a:gd name="T20" fmla="*/ 2258 w 2300"/>
              <a:gd name="T21" fmla="*/ 662 h 1442"/>
              <a:gd name="T22" fmla="*/ 2258 w 2300"/>
              <a:gd name="T23" fmla="*/ 662 h 1442"/>
              <a:gd name="T24" fmla="*/ 2258 w 2300"/>
              <a:gd name="T25" fmla="*/ 779 h 1442"/>
              <a:gd name="T26" fmla="*/ 1334 w 2300"/>
              <a:gd name="T27" fmla="*/ 1409 h 1442"/>
              <a:gd name="T28" fmla="*/ 1334 w 2300"/>
              <a:gd name="T29" fmla="*/ 1409 h 1442"/>
              <a:gd name="T30" fmla="*/ 1223 w 2300"/>
              <a:gd name="T31" fmla="*/ 1350 h 1442"/>
              <a:gd name="T32" fmla="*/ 1223 w 2300"/>
              <a:gd name="T33" fmla="*/ 1260 h 1442"/>
              <a:gd name="T34" fmla="*/ 1223 w 2300"/>
              <a:gd name="T35" fmla="*/ 1260 h 1442"/>
              <a:gd name="T36" fmla="*/ 1152 w 2300"/>
              <a:gd name="T37" fmla="*/ 1189 h 1442"/>
              <a:gd name="T38" fmla="*/ 71 w 2300"/>
              <a:gd name="T39" fmla="*/ 1189 h 1442"/>
              <a:gd name="T40" fmla="*/ 71 w 2300"/>
              <a:gd name="T41" fmla="*/ 1189 h 1442"/>
              <a:gd name="T42" fmla="*/ 0 w 2300"/>
              <a:gd name="T43" fmla="*/ 1118 h 1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300" h="1442">
                <a:moveTo>
                  <a:pt x="0" y="1118"/>
                </a:moveTo>
                <a:lnTo>
                  <a:pt x="0" y="326"/>
                </a:lnTo>
                <a:lnTo>
                  <a:pt x="0" y="326"/>
                </a:lnTo>
                <a:cubicBezTo>
                  <a:pt x="0" y="286"/>
                  <a:pt x="32" y="254"/>
                  <a:pt x="71" y="254"/>
                </a:cubicBezTo>
                <a:lnTo>
                  <a:pt x="1152" y="254"/>
                </a:lnTo>
                <a:lnTo>
                  <a:pt x="1152" y="254"/>
                </a:lnTo>
                <a:cubicBezTo>
                  <a:pt x="1191" y="254"/>
                  <a:pt x="1223" y="223"/>
                  <a:pt x="1223" y="183"/>
                </a:cubicBezTo>
                <a:lnTo>
                  <a:pt x="1223" y="91"/>
                </a:lnTo>
                <a:lnTo>
                  <a:pt x="1223" y="91"/>
                </a:lnTo>
                <a:cubicBezTo>
                  <a:pt x="1223" y="34"/>
                  <a:pt x="1287" y="0"/>
                  <a:pt x="1334" y="32"/>
                </a:cubicBezTo>
                <a:lnTo>
                  <a:pt x="2258" y="662"/>
                </a:lnTo>
                <a:lnTo>
                  <a:pt x="2258" y="662"/>
                </a:lnTo>
                <a:cubicBezTo>
                  <a:pt x="2299" y="690"/>
                  <a:pt x="2299" y="751"/>
                  <a:pt x="2258" y="779"/>
                </a:cubicBezTo>
                <a:lnTo>
                  <a:pt x="1334" y="1409"/>
                </a:lnTo>
                <a:lnTo>
                  <a:pt x="1334" y="1409"/>
                </a:lnTo>
                <a:cubicBezTo>
                  <a:pt x="1287" y="1441"/>
                  <a:pt x="1223" y="1407"/>
                  <a:pt x="1223" y="1350"/>
                </a:cubicBezTo>
                <a:lnTo>
                  <a:pt x="1223" y="1260"/>
                </a:lnTo>
                <a:lnTo>
                  <a:pt x="1223" y="1260"/>
                </a:lnTo>
                <a:cubicBezTo>
                  <a:pt x="1223" y="1221"/>
                  <a:pt x="1191" y="1189"/>
                  <a:pt x="1152" y="1189"/>
                </a:cubicBezTo>
                <a:lnTo>
                  <a:pt x="71" y="1189"/>
                </a:lnTo>
                <a:lnTo>
                  <a:pt x="71" y="1189"/>
                </a:lnTo>
                <a:cubicBezTo>
                  <a:pt x="32" y="1189"/>
                  <a:pt x="0" y="1158"/>
                  <a:pt x="0" y="1118"/>
                </a:cubicBez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3266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0D9AD38-A339-3543-BB3E-3490E91ED80C}"/>
              </a:ext>
            </a:extLst>
          </p:cNvPr>
          <p:cNvSpPr txBox="1"/>
          <p:nvPr/>
        </p:nvSpPr>
        <p:spPr>
          <a:xfrm>
            <a:off x="2426798" y="1675426"/>
            <a:ext cx="575799" cy="553998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r"/>
            <a:r>
              <a:rPr lang="de-DE" sz="3000" b="1">
                <a:solidFill>
                  <a:schemeClr val="bg1"/>
                </a:solidFill>
                <a:latin typeface="Montserrat Medium" panose="00000600000000000000" pitchFamily="2" charset="0"/>
                <a:cs typeface="Poppins" pitchFamily="2" charset="77"/>
              </a:rPr>
              <a:t>01</a:t>
            </a:r>
            <a:endParaRPr lang="de-DE" sz="3000" b="1" dirty="0">
              <a:solidFill>
                <a:schemeClr val="bg1"/>
              </a:solidFill>
              <a:latin typeface="Montserrat Medium" panose="00000600000000000000" pitchFamily="2" charset="0"/>
              <a:cs typeface="Poppins" pitchFamily="2" charset="77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EE33AF07-9AFA-FB44-859C-9473A5992ED8}"/>
              </a:ext>
            </a:extLst>
          </p:cNvPr>
          <p:cNvSpPr txBox="1"/>
          <p:nvPr/>
        </p:nvSpPr>
        <p:spPr>
          <a:xfrm>
            <a:off x="3281400" y="3536300"/>
            <a:ext cx="652743" cy="553998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r"/>
            <a:r>
              <a:rPr lang="de-DE" sz="3000" b="1">
                <a:solidFill>
                  <a:schemeClr val="bg1"/>
                </a:solidFill>
                <a:latin typeface="Montserrat Medium" panose="00000600000000000000" pitchFamily="2" charset="0"/>
                <a:cs typeface="Poppins" pitchFamily="2" charset="77"/>
              </a:rPr>
              <a:t>02</a:t>
            </a:r>
            <a:endParaRPr lang="de-DE" sz="3000" b="1" dirty="0">
              <a:solidFill>
                <a:schemeClr val="bg1"/>
              </a:solidFill>
              <a:latin typeface="Montserrat Medium" panose="00000600000000000000" pitchFamily="2" charset="0"/>
              <a:cs typeface="Poppins" pitchFamily="2" charset="77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66DED9F-819C-904C-8058-D1463A190AA4}"/>
              </a:ext>
            </a:extLst>
          </p:cNvPr>
          <p:cNvSpPr txBox="1"/>
          <p:nvPr/>
        </p:nvSpPr>
        <p:spPr>
          <a:xfrm>
            <a:off x="4105871" y="5397174"/>
            <a:ext cx="652743" cy="553998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r"/>
            <a:r>
              <a:rPr lang="de-DE" sz="3000" b="1">
                <a:solidFill>
                  <a:schemeClr val="bg1"/>
                </a:solidFill>
                <a:latin typeface="Montserrat Medium" panose="00000600000000000000" pitchFamily="2" charset="0"/>
                <a:cs typeface="Poppins" pitchFamily="2" charset="77"/>
              </a:rPr>
              <a:t>03</a:t>
            </a:r>
            <a:endParaRPr lang="de-DE" sz="3000" b="1" dirty="0">
              <a:solidFill>
                <a:schemeClr val="bg1"/>
              </a:solidFill>
              <a:latin typeface="Montserrat Medium" panose="00000600000000000000" pitchFamily="2" charset="0"/>
              <a:cs typeface="Poppins" pitchFamily="2" charset="77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D44C1D8-474E-4AC3-8760-2B6DBD51BB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9BA13EF-547D-4CDC-B04A-135D011BFE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uture Enhancement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FF05287-AAC0-4D7C-B5C4-230CD3BC48C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B63CAE-2CBB-47A6-9FDC-55E3E16A1DDB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376648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5">
            <a:extLst>
              <a:ext uri="{FF2B5EF4-FFF2-40B4-BE49-F238E27FC236}">
                <a16:creationId xmlns:a16="http://schemas.microsoft.com/office/drawing/2014/main" id="{90051B68-682F-A042-81FC-EB1F2336F9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02260" y="2623589"/>
            <a:ext cx="1277107" cy="464152"/>
          </a:xfrm>
          <a:custGeom>
            <a:avLst/>
            <a:gdLst>
              <a:gd name="T0" fmla="*/ 260 w 2052"/>
              <a:gd name="T1" fmla="*/ 341 h 746"/>
              <a:gd name="T2" fmla="*/ 25 w 2052"/>
              <a:gd name="T3" fmla="*/ 67 h 746"/>
              <a:gd name="T4" fmla="*/ 25 w 2052"/>
              <a:gd name="T5" fmla="*/ 67 h 746"/>
              <a:gd name="T6" fmla="*/ 55 w 2052"/>
              <a:gd name="T7" fmla="*/ 0 h 746"/>
              <a:gd name="T8" fmla="*/ 1722 w 2052"/>
              <a:gd name="T9" fmla="*/ 0 h 746"/>
              <a:gd name="T10" fmla="*/ 1722 w 2052"/>
              <a:gd name="T11" fmla="*/ 0 h 746"/>
              <a:gd name="T12" fmla="*/ 1752 w 2052"/>
              <a:gd name="T13" fmla="*/ 14 h 746"/>
              <a:gd name="T14" fmla="*/ 2038 w 2052"/>
              <a:gd name="T15" fmla="*/ 341 h 746"/>
              <a:gd name="T16" fmla="*/ 2038 w 2052"/>
              <a:gd name="T17" fmla="*/ 341 h 746"/>
              <a:gd name="T18" fmla="*/ 2038 w 2052"/>
              <a:gd name="T19" fmla="*/ 394 h 746"/>
              <a:gd name="T20" fmla="*/ 1752 w 2052"/>
              <a:gd name="T21" fmla="*/ 730 h 746"/>
              <a:gd name="T22" fmla="*/ 1752 w 2052"/>
              <a:gd name="T23" fmla="*/ 730 h 746"/>
              <a:gd name="T24" fmla="*/ 1721 w 2052"/>
              <a:gd name="T25" fmla="*/ 745 h 746"/>
              <a:gd name="T26" fmla="*/ 54 w 2052"/>
              <a:gd name="T27" fmla="*/ 745 h 746"/>
              <a:gd name="T28" fmla="*/ 54 w 2052"/>
              <a:gd name="T29" fmla="*/ 745 h 746"/>
              <a:gd name="T30" fmla="*/ 23 w 2052"/>
              <a:gd name="T31" fmla="*/ 678 h 746"/>
              <a:gd name="T32" fmla="*/ 260 w 2052"/>
              <a:gd name="T33" fmla="*/ 394 h 746"/>
              <a:gd name="T34" fmla="*/ 260 w 2052"/>
              <a:gd name="T35" fmla="*/ 394 h 746"/>
              <a:gd name="T36" fmla="*/ 260 w 2052"/>
              <a:gd name="T37" fmla="*/ 341 h 7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052" h="746">
                <a:moveTo>
                  <a:pt x="260" y="341"/>
                </a:moveTo>
                <a:lnTo>
                  <a:pt x="25" y="67"/>
                </a:lnTo>
                <a:lnTo>
                  <a:pt x="25" y="67"/>
                </a:lnTo>
                <a:cubicBezTo>
                  <a:pt x="2" y="41"/>
                  <a:pt x="21" y="0"/>
                  <a:pt x="55" y="0"/>
                </a:cubicBezTo>
                <a:lnTo>
                  <a:pt x="1722" y="0"/>
                </a:lnTo>
                <a:lnTo>
                  <a:pt x="1722" y="0"/>
                </a:lnTo>
                <a:cubicBezTo>
                  <a:pt x="1733" y="0"/>
                  <a:pt x="1744" y="6"/>
                  <a:pt x="1752" y="14"/>
                </a:cubicBezTo>
                <a:lnTo>
                  <a:pt x="2038" y="341"/>
                </a:lnTo>
                <a:lnTo>
                  <a:pt x="2038" y="341"/>
                </a:lnTo>
                <a:cubicBezTo>
                  <a:pt x="2051" y="356"/>
                  <a:pt x="2051" y="379"/>
                  <a:pt x="2038" y="394"/>
                </a:cubicBezTo>
                <a:lnTo>
                  <a:pt x="1752" y="730"/>
                </a:lnTo>
                <a:lnTo>
                  <a:pt x="1752" y="730"/>
                </a:lnTo>
                <a:cubicBezTo>
                  <a:pt x="1744" y="739"/>
                  <a:pt x="1733" y="745"/>
                  <a:pt x="1721" y="745"/>
                </a:cubicBezTo>
                <a:lnTo>
                  <a:pt x="54" y="745"/>
                </a:lnTo>
                <a:lnTo>
                  <a:pt x="54" y="745"/>
                </a:lnTo>
                <a:cubicBezTo>
                  <a:pt x="19" y="745"/>
                  <a:pt x="0" y="704"/>
                  <a:pt x="23" y="678"/>
                </a:cubicBezTo>
                <a:lnTo>
                  <a:pt x="260" y="394"/>
                </a:lnTo>
                <a:lnTo>
                  <a:pt x="260" y="394"/>
                </a:lnTo>
                <a:cubicBezTo>
                  <a:pt x="273" y="379"/>
                  <a:pt x="273" y="356"/>
                  <a:pt x="260" y="341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3266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2C0552F-D0EA-F340-A5E3-1E1B23BDFD13}"/>
              </a:ext>
            </a:extLst>
          </p:cNvPr>
          <p:cNvSpPr txBox="1"/>
          <p:nvPr/>
        </p:nvSpPr>
        <p:spPr>
          <a:xfrm>
            <a:off x="3191385" y="2624833"/>
            <a:ext cx="498856" cy="46166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 dirty="0">
                <a:solidFill>
                  <a:schemeClr val="bg1"/>
                </a:solidFill>
                <a:latin typeface="Montserrat Medium" panose="00000600000000000000" pitchFamily="2" charset="0"/>
                <a:cs typeface="Poppins" pitchFamily="2" charset="77"/>
              </a:rPr>
              <a:t>01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E2DBF5B5-44E4-9C4A-B7A8-62C196A8945A}"/>
              </a:ext>
            </a:extLst>
          </p:cNvPr>
          <p:cNvSpPr txBox="1">
            <a:spLocks/>
          </p:cNvSpPr>
          <p:nvPr/>
        </p:nvSpPr>
        <p:spPr>
          <a:xfrm>
            <a:off x="4648200" y="2997390"/>
            <a:ext cx="4875884" cy="488147"/>
          </a:xfrm>
          <a:prstGeom prst="rect">
            <a:avLst/>
          </a:prstGeom>
        </p:spPr>
        <p:txBody>
          <a:bodyPr vert="horz" wrap="square" lIns="4572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750"/>
              </a:lnSpc>
            </a:pPr>
            <a:r>
              <a:rPr lang="en-US" sz="1200" dirty="0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Automated room booking system addresses key challenges in manual booking processes, enhancing overall efficiency.</a:t>
            </a:r>
            <a:endParaRPr lang="de-DE" sz="1200" dirty="0">
              <a:solidFill>
                <a:schemeClr val="tx1"/>
              </a:solidFill>
              <a:latin typeface="Montserrat Medium" panose="00000600000000000000" pitchFamily="2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D98026F-A297-F548-AAB9-B3799AC1DCFD}"/>
              </a:ext>
            </a:extLst>
          </p:cNvPr>
          <p:cNvSpPr txBox="1"/>
          <p:nvPr/>
        </p:nvSpPr>
        <p:spPr>
          <a:xfrm>
            <a:off x="4513858" y="2660258"/>
            <a:ext cx="2730235" cy="33855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de-DE" sz="1600" b="1" dirty="0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Transformative Solution</a:t>
            </a:r>
          </a:p>
        </p:txBody>
      </p:sp>
      <p:sp>
        <p:nvSpPr>
          <p:cNvPr id="2" name="Freeform 2">
            <a:extLst>
              <a:ext uri="{FF2B5EF4-FFF2-40B4-BE49-F238E27FC236}">
                <a16:creationId xmlns:a16="http://schemas.microsoft.com/office/drawing/2014/main" id="{6076B468-3628-A34E-8D62-2526308D83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02260" y="3936420"/>
            <a:ext cx="1277107" cy="464152"/>
          </a:xfrm>
          <a:custGeom>
            <a:avLst/>
            <a:gdLst>
              <a:gd name="T0" fmla="*/ 260 w 2052"/>
              <a:gd name="T1" fmla="*/ 340 h 744"/>
              <a:gd name="T2" fmla="*/ 25 w 2052"/>
              <a:gd name="T3" fmla="*/ 67 h 744"/>
              <a:gd name="T4" fmla="*/ 25 w 2052"/>
              <a:gd name="T5" fmla="*/ 67 h 744"/>
              <a:gd name="T6" fmla="*/ 55 w 2052"/>
              <a:gd name="T7" fmla="*/ 0 h 744"/>
              <a:gd name="T8" fmla="*/ 1722 w 2052"/>
              <a:gd name="T9" fmla="*/ 0 h 744"/>
              <a:gd name="T10" fmla="*/ 1722 w 2052"/>
              <a:gd name="T11" fmla="*/ 0 h 744"/>
              <a:gd name="T12" fmla="*/ 1752 w 2052"/>
              <a:gd name="T13" fmla="*/ 13 h 744"/>
              <a:gd name="T14" fmla="*/ 2038 w 2052"/>
              <a:gd name="T15" fmla="*/ 340 h 744"/>
              <a:gd name="T16" fmla="*/ 2038 w 2052"/>
              <a:gd name="T17" fmla="*/ 340 h 744"/>
              <a:gd name="T18" fmla="*/ 2038 w 2052"/>
              <a:gd name="T19" fmla="*/ 393 h 744"/>
              <a:gd name="T20" fmla="*/ 1752 w 2052"/>
              <a:gd name="T21" fmla="*/ 729 h 744"/>
              <a:gd name="T22" fmla="*/ 1752 w 2052"/>
              <a:gd name="T23" fmla="*/ 729 h 744"/>
              <a:gd name="T24" fmla="*/ 1721 w 2052"/>
              <a:gd name="T25" fmla="*/ 743 h 744"/>
              <a:gd name="T26" fmla="*/ 54 w 2052"/>
              <a:gd name="T27" fmla="*/ 743 h 744"/>
              <a:gd name="T28" fmla="*/ 54 w 2052"/>
              <a:gd name="T29" fmla="*/ 743 h 744"/>
              <a:gd name="T30" fmla="*/ 23 w 2052"/>
              <a:gd name="T31" fmla="*/ 677 h 744"/>
              <a:gd name="T32" fmla="*/ 260 w 2052"/>
              <a:gd name="T33" fmla="*/ 393 h 744"/>
              <a:gd name="T34" fmla="*/ 260 w 2052"/>
              <a:gd name="T35" fmla="*/ 393 h 744"/>
              <a:gd name="T36" fmla="*/ 260 w 2052"/>
              <a:gd name="T37" fmla="*/ 340 h 7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052" h="744">
                <a:moveTo>
                  <a:pt x="260" y="340"/>
                </a:moveTo>
                <a:lnTo>
                  <a:pt x="25" y="67"/>
                </a:lnTo>
                <a:lnTo>
                  <a:pt x="25" y="67"/>
                </a:lnTo>
                <a:cubicBezTo>
                  <a:pt x="2" y="41"/>
                  <a:pt x="21" y="0"/>
                  <a:pt x="55" y="0"/>
                </a:cubicBezTo>
                <a:lnTo>
                  <a:pt x="1722" y="0"/>
                </a:lnTo>
                <a:lnTo>
                  <a:pt x="1722" y="0"/>
                </a:lnTo>
                <a:cubicBezTo>
                  <a:pt x="1733" y="0"/>
                  <a:pt x="1744" y="5"/>
                  <a:pt x="1752" y="13"/>
                </a:cubicBezTo>
                <a:lnTo>
                  <a:pt x="2038" y="340"/>
                </a:lnTo>
                <a:lnTo>
                  <a:pt x="2038" y="340"/>
                </a:lnTo>
                <a:cubicBezTo>
                  <a:pt x="2051" y="355"/>
                  <a:pt x="2051" y="378"/>
                  <a:pt x="2038" y="393"/>
                </a:cubicBezTo>
                <a:lnTo>
                  <a:pt x="1752" y="729"/>
                </a:lnTo>
                <a:lnTo>
                  <a:pt x="1752" y="729"/>
                </a:lnTo>
                <a:cubicBezTo>
                  <a:pt x="1744" y="738"/>
                  <a:pt x="1733" y="743"/>
                  <a:pt x="1721" y="743"/>
                </a:cubicBezTo>
                <a:lnTo>
                  <a:pt x="54" y="743"/>
                </a:lnTo>
                <a:lnTo>
                  <a:pt x="54" y="743"/>
                </a:lnTo>
                <a:cubicBezTo>
                  <a:pt x="19" y="743"/>
                  <a:pt x="0" y="703"/>
                  <a:pt x="23" y="677"/>
                </a:cubicBezTo>
                <a:lnTo>
                  <a:pt x="260" y="393"/>
                </a:lnTo>
                <a:lnTo>
                  <a:pt x="260" y="393"/>
                </a:lnTo>
                <a:cubicBezTo>
                  <a:pt x="273" y="378"/>
                  <a:pt x="273" y="355"/>
                  <a:pt x="260" y="340"/>
                </a:cubicBez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3266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6C4BB33-18F5-D14F-9E0A-D78AD10A810D}"/>
              </a:ext>
            </a:extLst>
          </p:cNvPr>
          <p:cNvSpPr txBox="1"/>
          <p:nvPr/>
        </p:nvSpPr>
        <p:spPr>
          <a:xfrm>
            <a:off x="3160929" y="3937664"/>
            <a:ext cx="559769" cy="46166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>
                <a:solidFill>
                  <a:schemeClr val="bg1"/>
                </a:solidFill>
                <a:latin typeface="Montserrat Medium" panose="00000600000000000000" pitchFamily="2" charset="0"/>
                <a:cs typeface="Poppins" pitchFamily="2" charset="77"/>
              </a:rPr>
              <a:t>02</a:t>
            </a:r>
            <a:endParaRPr lang="de-DE" sz="2400" b="1" dirty="0">
              <a:solidFill>
                <a:schemeClr val="bg1"/>
              </a:solidFill>
              <a:latin typeface="Montserrat Medium" panose="00000600000000000000" pitchFamily="2" charset="0"/>
              <a:cs typeface="Poppins" pitchFamily="2" charset="77"/>
            </a:endParaRP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07CB5B4A-1533-8446-BCED-DC843F0597ED}"/>
              </a:ext>
            </a:extLst>
          </p:cNvPr>
          <p:cNvSpPr txBox="1">
            <a:spLocks/>
          </p:cNvSpPr>
          <p:nvPr/>
        </p:nvSpPr>
        <p:spPr>
          <a:xfrm>
            <a:off x="4649116" y="4310221"/>
            <a:ext cx="4875884" cy="718979"/>
          </a:xfrm>
          <a:prstGeom prst="rect">
            <a:avLst/>
          </a:prstGeom>
        </p:spPr>
        <p:txBody>
          <a:bodyPr vert="horz" wrap="square" lIns="4572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750"/>
              </a:lnSpc>
            </a:pPr>
            <a:r>
              <a:rPr lang="en-US" sz="1200" dirty="0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Improves productivity, optimizes office space utilization, and reduces booking conflicts, leading to a smoother operational workflow.</a:t>
            </a:r>
            <a:endParaRPr lang="de-DE" sz="1200" dirty="0">
              <a:solidFill>
                <a:schemeClr val="tx1"/>
              </a:solidFill>
              <a:latin typeface="Montserrat Medium" panose="00000600000000000000" pitchFamily="2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E7EAAEF-AF19-AE4F-B6A7-7AD62D9091B7}"/>
              </a:ext>
            </a:extLst>
          </p:cNvPr>
          <p:cNvSpPr txBox="1"/>
          <p:nvPr/>
        </p:nvSpPr>
        <p:spPr>
          <a:xfrm>
            <a:off x="4513858" y="3973089"/>
            <a:ext cx="2185214" cy="33855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de-DE" sz="1600" b="1" dirty="0" err="1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Significant</a:t>
            </a:r>
            <a:r>
              <a:rPr lang="de-DE" sz="1600" b="1" dirty="0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 Benefits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77F9D36F-2639-468C-9995-ABAF088DD7F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AB66817C-548C-4392-94D6-ED2B18A95E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  <a:endParaRPr lang="de-DE" dirty="0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C97F361A-CF61-4FD8-981E-BE429B355D9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B63CAE-2CBB-47A6-9FDC-55E3E16A1DDB}" type="slidenum">
              <a:rPr lang="de-DE" smtClean="0"/>
              <a:pPr/>
              <a:t>11</a:t>
            </a:fld>
            <a:endParaRPr lang="de-DE" dirty="0"/>
          </a:p>
        </p:txBody>
      </p:sp>
      <p:pic>
        <p:nvPicPr>
          <p:cNvPr id="4" name="Content Placeholder 7" descr="A person holding a pencil next to a clipboard&#10;&#10;Description automatically generated">
            <a:extLst>
              <a:ext uri="{FF2B5EF4-FFF2-40B4-BE49-F238E27FC236}">
                <a16:creationId xmlns:a16="http://schemas.microsoft.com/office/drawing/2014/main" id="{4AC6192D-66A5-003E-E1D5-66B32A6E225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7000" y="2939270"/>
            <a:ext cx="1277107" cy="149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9961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6">
            <a:extLst>
              <a:ext uri="{FF2B5EF4-FFF2-40B4-BE49-F238E27FC236}">
                <a16:creationId xmlns:a16="http://schemas.microsoft.com/office/drawing/2014/main" id="{64D7545F-22BF-2947-B078-37D221B47B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34098" y="4437991"/>
            <a:ext cx="282897" cy="281243"/>
          </a:xfrm>
          <a:custGeom>
            <a:avLst/>
            <a:gdLst>
              <a:gd name="T0" fmla="*/ 0 w 753"/>
              <a:gd name="T1" fmla="*/ 750 h 751"/>
              <a:gd name="T2" fmla="*/ 752 w 753"/>
              <a:gd name="T3" fmla="*/ 750 h 751"/>
              <a:gd name="T4" fmla="*/ 752 w 753"/>
              <a:gd name="T5" fmla="*/ 0 h 751"/>
              <a:gd name="T6" fmla="*/ 749 w 753"/>
              <a:gd name="T7" fmla="*/ 0 h 751"/>
              <a:gd name="T8" fmla="*/ 0 w 753"/>
              <a:gd name="T9" fmla="*/ 750 h 7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53" h="751">
                <a:moveTo>
                  <a:pt x="0" y="750"/>
                </a:moveTo>
                <a:lnTo>
                  <a:pt x="752" y="750"/>
                </a:lnTo>
                <a:lnTo>
                  <a:pt x="752" y="0"/>
                </a:lnTo>
                <a:lnTo>
                  <a:pt x="749" y="0"/>
                </a:lnTo>
                <a:lnTo>
                  <a:pt x="0" y="75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3266" dirty="0">
              <a:latin typeface="Montserrat Medium" panose="00000600000000000000" pitchFamily="2" charset="0"/>
            </a:endParaRPr>
          </a:p>
        </p:txBody>
      </p:sp>
      <p:sp>
        <p:nvSpPr>
          <p:cNvPr id="10" name="Freeform 7">
            <a:extLst>
              <a:ext uri="{FF2B5EF4-FFF2-40B4-BE49-F238E27FC236}">
                <a16:creationId xmlns:a16="http://schemas.microsoft.com/office/drawing/2014/main" id="{23847005-3026-BF42-B5EC-7281925BF2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44200" y="3969804"/>
            <a:ext cx="282898" cy="281243"/>
          </a:xfrm>
          <a:custGeom>
            <a:avLst/>
            <a:gdLst>
              <a:gd name="T0" fmla="*/ 0 w 755"/>
              <a:gd name="T1" fmla="*/ 750 h 751"/>
              <a:gd name="T2" fmla="*/ 754 w 755"/>
              <a:gd name="T3" fmla="*/ 750 h 751"/>
              <a:gd name="T4" fmla="*/ 754 w 755"/>
              <a:gd name="T5" fmla="*/ 0 h 751"/>
              <a:gd name="T6" fmla="*/ 750 w 755"/>
              <a:gd name="T7" fmla="*/ 0 h 751"/>
              <a:gd name="T8" fmla="*/ 0 w 755"/>
              <a:gd name="T9" fmla="*/ 750 h 7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55" h="751">
                <a:moveTo>
                  <a:pt x="0" y="750"/>
                </a:moveTo>
                <a:lnTo>
                  <a:pt x="754" y="750"/>
                </a:lnTo>
                <a:lnTo>
                  <a:pt x="754" y="0"/>
                </a:lnTo>
                <a:lnTo>
                  <a:pt x="750" y="0"/>
                </a:lnTo>
                <a:lnTo>
                  <a:pt x="0" y="750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3266" dirty="0">
              <a:latin typeface="Montserrat Medium" panose="00000600000000000000" pitchFamily="2" charset="0"/>
            </a:endParaRPr>
          </a:p>
        </p:txBody>
      </p:sp>
      <p:sp>
        <p:nvSpPr>
          <p:cNvPr id="11" name="Freeform 8">
            <a:extLst>
              <a:ext uri="{FF2B5EF4-FFF2-40B4-BE49-F238E27FC236}">
                <a16:creationId xmlns:a16="http://schemas.microsoft.com/office/drawing/2014/main" id="{802393B2-098D-CB45-A7D1-E4AA05A333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00972" y="3535533"/>
            <a:ext cx="282897" cy="281243"/>
          </a:xfrm>
          <a:custGeom>
            <a:avLst/>
            <a:gdLst>
              <a:gd name="T0" fmla="*/ 0 w 753"/>
              <a:gd name="T1" fmla="*/ 750 h 751"/>
              <a:gd name="T2" fmla="*/ 752 w 753"/>
              <a:gd name="T3" fmla="*/ 750 h 751"/>
              <a:gd name="T4" fmla="*/ 752 w 753"/>
              <a:gd name="T5" fmla="*/ 0 h 751"/>
              <a:gd name="T6" fmla="*/ 749 w 753"/>
              <a:gd name="T7" fmla="*/ 0 h 751"/>
              <a:gd name="T8" fmla="*/ 0 w 753"/>
              <a:gd name="T9" fmla="*/ 750 h 7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53" h="751">
                <a:moveTo>
                  <a:pt x="0" y="750"/>
                </a:moveTo>
                <a:lnTo>
                  <a:pt x="752" y="750"/>
                </a:lnTo>
                <a:lnTo>
                  <a:pt x="752" y="0"/>
                </a:lnTo>
                <a:lnTo>
                  <a:pt x="749" y="0"/>
                </a:lnTo>
                <a:lnTo>
                  <a:pt x="0" y="750"/>
                </a:ln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3266" dirty="0">
              <a:latin typeface="Montserrat Medium" panose="00000600000000000000" pitchFamily="2" charset="0"/>
            </a:endParaRPr>
          </a:p>
        </p:txBody>
      </p:sp>
      <p:sp>
        <p:nvSpPr>
          <p:cNvPr id="78" name="Freeform 77">
            <a:extLst>
              <a:ext uri="{FF2B5EF4-FFF2-40B4-BE49-F238E27FC236}">
                <a16:creationId xmlns:a16="http://schemas.microsoft.com/office/drawing/2014/main" id="{0FEC22A9-525D-4E44-B7CC-2F16BF6166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51571" y="2590839"/>
            <a:ext cx="310330" cy="196978"/>
          </a:xfrm>
          <a:custGeom>
            <a:avLst/>
            <a:gdLst>
              <a:gd name="connsiteX0" fmla="*/ 408053 w 620659"/>
              <a:gd name="connsiteY0" fmla="*/ 0 h 393956"/>
              <a:gd name="connsiteX1" fmla="*/ 403544 w 620659"/>
              <a:gd name="connsiteY1" fmla="*/ 60159 h 393956"/>
              <a:gd name="connsiteX2" fmla="*/ 290070 w 620659"/>
              <a:gd name="connsiteY2" fmla="*/ 141373 h 393956"/>
              <a:gd name="connsiteX3" fmla="*/ 369751 w 620659"/>
              <a:gd name="connsiteY3" fmla="*/ 152477 h 393956"/>
              <a:gd name="connsiteX4" fmla="*/ 372034 w 620659"/>
              <a:gd name="connsiteY4" fmla="*/ 152509 h 393956"/>
              <a:gd name="connsiteX5" fmla="*/ 571766 w 620659"/>
              <a:gd name="connsiteY5" fmla="*/ 136109 h 393956"/>
              <a:gd name="connsiteX6" fmla="*/ 577036 w 620659"/>
              <a:gd name="connsiteY6" fmla="*/ 192508 h 393956"/>
              <a:gd name="connsiteX7" fmla="*/ 383978 w 620659"/>
              <a:gd name="connsiteY7" fmla="*/ 208361 h 393956"/>
              <a:gd name="connsiteX8" fmla="*/ 384005 w 620659"/>
              <a:gd name="connsiteY8" fmla="*/ 209417 h 393956"/>
              <a:gd name="connsiteX9" fmla="*/ 383837 w 620659"/>
              <a:gd name="connsiteY9" fmla="*/ 215064 h 393956"/>
              <a:gd name="connsiteX10" fmla="*/ 590715 w 620659"/>
              <a:gd name="connsiteY10" fmla="*/ 205889 h 393956"/>
              <a:gd name="connsiteX11" fmla="*/ 593716 w 620659"/>
              <a:gd name="connsiteY11" fmla="*/ 262672 h 393956"/>
              <a:gd name="connsiteX12" fmla="*/ 382070 w 620659"/>
              <a:gd name="connsiteY12" fmla="*/ 272745 h 393956"/>
              <a:gd name="connsiteX13" fmla="*/ 381393 w 620659"/>
              <a:gd name="connsiteY13" fmla="*/ 277934 h 393956"/>
              <a:gd name="connsiteX14" fmla="*/ 580287 w 620659"/>
              <a:gd name="connsiteY14" fmla="*/ 277934 h 393956"/>
              <a:gd name="connsiteX15" fmla="*/ 580287 w 620659"/>
              <a:gd name="connsiteY15" fmla="*/ 333444 h 393956"/>
              <a:gd name="connsiteX16" fmla="*/ 374150 w 620659"/>
              <a:gd name="connsiteY16" fmla="*/ 333444 h 393956"/>
              <a:gd name="connsiteX17" fmla="*/ 374048 w 620659"/>
              <a:gd name="connsiteY17" fmla="*/ 334223 h 393956"/>
              <a:gd name="connsiteX18" fmla="*/ 372905 w 620659"/>
              <a:gd name="connsiteY18" fmla="*/ 337820 h 393956"/>
              <a:gd name="connsiteX19" fmla="*/ 527826 w 620659"/>
              <a:gd name="connsiteY19" fmla="*/ 339683 h 393956"/>
              <a:gd name="connsiteX20" fmla="*/ 527826 w 620659"/>
              <a:gd name="connsiteY20" fmla="*/ 385665 h 393956"/>
              <a:gd name="connsiteX21" fmla="*/ 358134 w 620659"/>
              <a:gd name="connsiteY21" fmla="*/ 384306 h 393956"/>
              <a:gd name="connsiteX22" fmla="*/ 356952 w 620659"/>
              <a:gd name="connsiteY22" fmla="*/ 388026 h 393956"/>
              <a:gd name="connsiteX23" fmla="*/ 130757 w 620659"/>
              <a:gd name="connsiteY23" fmla="*/ 360954 h 393956"/>
              <a:gd name="connsiteX24" fmla="*/ 0 w 620659"/>
              <a:gd name="connsiteY24" fmla="*/ 360954 h 393956"/>
              <a:gd name="connsiteX25" fmla="*/ 12775 w 620659"/>
              <a:gd name="connsiteY25" fmla="*/ 170701 h 393956"/>
              <a:gd name="connsiteX26" fmla="*/ 136017 w 620659"/>
              <a:gd name="connsiteY26" fmla="*/ 157917 h 393956"/>
              <a:gd name="connsiteX27" fmla="*/ 350189 w 620659"/>
              <a:gd name="connsiteY27" fmla="*/ 30079 h 393956"/>
              <a:gd name="connsiteX28" fmla="*/ 408053 w 620659"/>
              <a:gd name="connsiteY28" fmla="*/ 0 h 393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620659" h="393956">
                <a:moveTo>
                  <a:pt x="408053" y="0"/>
                </a:moveTo>
                <a:cubicBezTo>
                  <a:pt x="408053" y="0"/>
                  <a:pt x="442621" y="27823"/>
                  <a:pt x="403544" y="60159"/>
                </a:cubicBezTo>
                <a:cubicBezTo>
                  <a:pt x="365970" y="93246"/>
                  <a:pt x="267526" y="120318"/>
                  <a:pt x="290070" y="141373"/>
                </a:cubicBezTo>
                <a:cubicBezTo>
                  <a:pt x="299088" y="149833"/>
                  <a:pt x="346573" y="151948"/>
                  <a:pt x="369751" y="152477"/>
                </a:cubicBezTo>
                <a:lnTo>
                  <a:pt x="372034" y="152509"/>
                </a:lnTo>
                <a:lnTo>
                  <a:pt x="571766" y="136109"/>
                </a:lnTo>
                <a:cubicBezTo>
                  <a:pt x="609403" y="132349"/>
                  <a:pt x="614672" y="189500"/>
                  <a:pt x="577036" y="192508"/>
                </a:cubicBezTo>
                <a:lnTo>
                  <a:pt x="383978" y="208361"/>
                </a:lnTo>
                <a:lnTo>
                  <a:pt x="384005" y="209417"/>
                </a:lnTo>
                <a:lnTo>
                  <a:pt x="383837" y="215064"/>
                </a:lnTo>
                <a:lnTo>
                  <a:pt x="590715" y="205889"/>
                </a:lnTo>
                <a:cubicBezTo>
                  <a:pt x="628970" y="205142"/>
                  <a:pt x="631220" y="261178"/>
                  <a:pt x="593716" y="262672"/>
                </a:cubicBezTo>
                <a:lnTo>
                  <a:pt x="382070" y="272745"/>
                </a:lnTo>
                <a:lnTo>
                  <a:pt x="381393" y="277934"/>
                </a:lnTo>
                <a:lnTo>
                  <a:pt x="580287" y="277934"/>
                </a:lnTo>
                <a:cubicBezTo>
                  <a:pt x="617981" y="277934"/>
                  <a:pt x="617981" y="333444"/>
                  <a:pt x="580287" y="333444"/>
                </a:cubicBezTo>
                <a:lnTo>
                  <a:pt x="374150" y="333444"/>
                </a:lnTo>
                <a:lnTo>
                  <a:pt x="374048" y="334223"/>
                </a:lnTo>
                <a:lnTo>
                  <a:pt x="372905" y="337820"/>
                </a:lnTo>
                <a:lnTo>
                  <a:pt x="527826" y="339683"/>
                </a:lnTo>
                <a:cubicBezTo>
                  <a:pt x="558432" y="339683"/>
                  <a:pt x="557685" y="386395"/>
                  <a:pt x="527826" y="385665"/>
                </a:cubicBezTo>
                <a:lnTo>
                  <a:pt x="358134" y="384306"/>
                </a:lnTo>
                <a:lnTo>
                  <a:pt x="356952" y="388026"/>
                </a:lnTo>
                <a:cubicBezTo>
                  <a:pt x="356952" y="388026"/>
                  <a:pt x="141278" y="412841"/>
                  <a:pt x="130757" y="360954"/>
                </a:cubicBezTo>
                <a:cubicBezTo>
                  <a:pt x="97692" y="360954"/>
                  <a:pt x="21793" y="360954"/>
                  <a:pt x="0" y="360954"/>
                </a:cubicBezTo>
                <a:lnTo>
                  <a:pt x="12775" y="170701"/>
                </a:lnTo>
                <a:cubicBezTo>
                  <a:pt x="59367" y="166189"/>
                  <a:pt x="99946" y="163181"/>
                  <a:pt x="136017" y="157917"/>
                </a:cubicBezTo>
                <a:cubicBezTo>
                  <a:pt x="168331" y="72191"/>
                  <a:pt x="284810" y="64671"/>
                  <a:pt x="350189" y="30079"/>
                </a:cubicBezTo>
                <a:cubicBezTo>
                  <a:pt x="382503" y="14288"/>
                  <a:pt x="408053" y="0"/>
                  <a:pt x="408053" y="0"/>
                </a:cubicBezTo>
                <a:close/>
              </a:path>
            </a:pathLst>
          </a:custGeom>
          <a:solidFill>
            <a:srgbClr val="F49D5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endParaRPr lang="de-DE" sz="3266" dirty="0">
              <a:latin typeface="Montserrat Medium" panose="00000600000000000000" pitchFamily="2" charset="0"/>
            </a:endParaRPr>
          </a:p>
        </p:txBody>
      </p:sp>
      <p:sp>
        <p:nvSpPr>
          <p:cNvPr id="18" name="Freeform 15">
            <a:extLst>
              <a:ext uri="{FF2B5EF4-FFF2-40B4-BE49-F238E27FC236}">
                <a16:creationId xmlns:a16="http://schemas.microsoft.com/office/drawing/2014/main" id="{87A6F767-78A0-264E-B33F-6285E7BBCE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32836" y="2336066"/>
            <a:ext cx="696490" cy="602190"/>
          </a:xfrm>
          <a:custGeom>
            <a:avLst/>
            <a:gdLst>
              <a:gd name="T0" fmla="*/ 283 w 1858"/>
              <a:gd name="T1" fmla="*/ 0 h 1605"/>
              <a:gd name="T2" fmla="*/ 753 w 1858"/>
              <a:gd name="T3" fmla="*/ 991 h 1605"/>
              <a:gd name="T4" fmla="*/ 1779 w 1858"/>
              <a:gd name="T5" fmla="*/ 805 h 1605"/>
              <a:gd name="T6" fmla="*/ 1857 w 1858"/>
              <a:gd name="T7" fmla="*/ 1258 h 1605"/>
              <a:gd name="T8" fmla="*/ 461 w 1858"/>
              <a:gd name="T9" fmla="*/ 1604 h 1605"/>
              <a:gd name="T10" fmla="*/ 0 w 1858"/>
              <a:gd name="T11" fmla="*/ 752 h 1605"/>
              <a:gd name="T12" fmla="*/ 283 w 1858"/>
              <a:gd name="T13" fmla="*/ 0 h 16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58" h="1605">
                <a:moveTo>
                  <a:pt x="283" y="0"/>
                </a:moveTo>
                <a:lnTo>
                  <a:pt x="753" y="991"/>
                </a:lnTo>
                <a:lnTo>
                  <a:pt x="1779" y="805"/>
                </a:lnTo>
                <a:lnTo>
                  <a:pt x="1857" y="1258"/>
                </a:lnTo>
                <a:lnTo>
                  <a:pt x="461" y="1604"/>
                </a:lnTo>
                <a:lnTo>
                  <a:pt x="0" y="752"/>
                </a:lnTo>
                <a:lnTo>
                  <a:pt x="283" y="0"/>
                </a:lnTo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de-DE" sz="3266" dirty="0">
              <a:latin typeface="Montserrat Medium" panose="00000600000000000000" pitchFamily="2" charset="0"/>
            </a:endParaRPr>
          </a:p>
        </p:txBody>
      </p:sp>
      <p:sp>
        <p:nvSpPr>
          <p:cNvPr id="19" name="Freeform 16">
            <a:extLst>
              <a:ext uri="{FF2B5EF4-FFF2-40B4-BE49-F238E27FC236}">
                <a16:creationId xmlns:a16="http://schemas.microsoft.com/office/drawing/2014/main" id="{4EB999CF-6E2B-0446-82A7-52C3407AF3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7697" y="2632198"/>
            <a:ext cx="653476" cy="726267"/>
          </a:xfrm>
          <a:custGeom>
            <a:avLst/>
            <a:gdLst>
              <a:gd name="T0" fmla="*/ 1740 w 1741"/>
              <a:gd name="T1" fmla="*/ 1467 h 1936"/>
              <a:gd name="T2" fmla="*/ 1166 w 1741"/>
              <a:gd name="T3" fmla="*/ 1906 h 1936"/>
              <a:gd name="T4" fmla="*/ 1166 w 1741"/>
              <a:gd name="T5" fmla="*/ 1906 h 1936"/>
              <a:gd name="T6" fmla="*/ 1049 w 1741"/>
              <a:gd name="T7" fmla="*/ 1890 h 1936"/>
              <a:gd name="T8" fmla="*/ 29 w 1741"/>
              <a:gd name="T9" fmla="*/ 557 h 1936"/>
              <a:gd name="T10" fmla="*/ 29 w 1741"/>
              <a:gd name="T11" fmla="*/ 557 h 1936"/>
              <a:gd name="T12" fmla="*/ 45 w 1741"/>
              <a:gd name="T13" fmla="*/ 439 h 1936"/>
              <a:gd name="T14" fmla="*/ 619 w 1741"/>
              <a:gd name="T15" fmla="*/ 0 h 1936"/>
              <a:gd name="T16" fmla="*/ 619 w 1741"/>
              <a:gd name="T17" fmla="*/ 0 h 1936"/>
              <a:gd name="T18" fmla="*/ 603 w 1741"/>
              <a:gd name="T19" fmla="*/ 119 h 1936"/>
              <a:gd name="T20" fmla="*/ 1621 w 1741"/>
              <a:gd name="T21" fmla="*/ 1452 h 1936"/>
              <a:gd name="T22" fmla="*/ 1621 w 1741"/>
              <a:gd name="T23" fmla="*/ 1452 h 1936"/>
              <a:gd name="T24" fmla="*/ 1740 w 1741"/>
              <a:gd name="T25" fmla="*/ 1467 h 19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741" h="1936">
                <a:moveTo>
                  <a:pt x="1740" y="1467"/>
                </a:moveTo>
                <a:lnTo>
                  <a:pt x="1166" y="1906"/>
                </a:lnTo>
                <a:lnTo>
                  <a:pt x="1166" y="1906"/>
                </a:lnTo>
                <a:cubicBezTo>
                  <a:pt x="1130" y="1935"/>
                  <a:pt x="1076" y="1928"/>
                  <a:pt x="1049" y="1890"/>
                </a:cubicBezTo>
                <a:lnTo>
                  <a:pt x="29" y="557"/>
                </a:lnTo>
                <a:lnTo>
                  <a:pt x="29" y="557"/>
                </a:lnTo>
                <a:cubicBezTo>
                  <a:pt x="0" y="520"/>
                  <a:pt x="8" y="468"/>
                  <a:pt x="45" y="439"/>
                </a:cubicBezTo>
                <a:lnTo>
                  <a:pt x="619" y="0"/>
                </a:lnTo>
                <a:lnTo>
                  <a:pt x="619" y="0"/>
                </a:lnTo>
                <a:cubicBezTo>
                  <a:pt x="582" y="29"/>
                  <a:pt x="574" y="82"/>
                  <a:pt x="603" y="119"/>
                </a:cubicBezTo>
                <a:lnTo>
                  <a:pt x="1621" y="1452"/>
                </a:lnTo>
                <a:lnTo>
                  <a:pt x="1621" y="1452"/>
                </a:lnTo>
                <a:cubicBezTo>
                  <a:pt x="1650" y="1489"/>
                  <a:pt x="1703" y="1496"/>
                  <a:pt x="1740" y="1467"/>
                </a:cubicBezTo>
              </a:path>
            </a:pathLst>
          </a:custGeom>
          <a:solidFill>
            <a:srgbClr val="28282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sz="3266" dirty="0">
              <a:latin typeface="Montserrat Medium" panose="00000600000000000000" pitchFamily="2" charset="0"/>
            </a:endParaRPr>
          </a:p>
        </p:txBody>
      </p:sp>
      <p:sp>
        <p:nvSpPr>
          <p:cNvPr id="79" name="Freeform 78">
            <a:extLst>
              <a:ext uri="{FF2B5EF4-FFF2-40B4-BE49-F238E27FC236}">
                <a16:creationId xmlns:a16="http://schemas.microsoft.com/office/drawing/2014/main" id="{A3C44A60-DF3A-674C-AF28-CF10825672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7052" y="2499073"/>
            <a:ext cx="609926" cy="689430"/>
          </a:xfrm>
          <a:custGeom>
            <a:avLst/>
            <a:gdLst>
              <a:gd name="connsiteX0" fmla="*/ 827635 w 1219852"/>
              <a:gd name="connsiteY0" fmla="*/ 347519 h 1378859"/>
              <a:gd name="connsiteX1" fmla="*/ 811843 w 1219852"/>
              <a:gd name="connsiteY1" fmla="*/ 351753 h 1378859"/>
              <a:gd name="connsiteX2" fmla="*/ 736429 w 1219852"/>
              <a:gd name="connsiteY2" fmla="*/ 409315 h 1378859"/>
              <a:gd name="connsiteX3" fmla="*/ 914342 w 1219852"/>
              <a:gd name="connsiteY3" fmla="*/ 642867 h 1378859"/>
              <a:gd name="connsiteX4" fmla="*/ 990065 w 1219852"/>
              <a:gd name="connsiteY4" fmla="*/ 585069 h 1378859"/>
              <a:gd name="connsiteX5" fmla="*/ 994577 w 1219852"/>
              <a:gd name="connsiteY5" fmla="*/ 554964 h 1378859"/>
              <a:gd name="connsiteX6" fmla="*/ 841171 w 1219852"/>
              <a:gd name="connsiteY6" fmla="*/ 356269 h 1378859"/>
              <a:gd name="connsiteX7" fmla="*/ 827635 w 1219852"/>
              <a:gd name="connsiteY7" fmla="*/ 347519 h 1378859"/>
              <a:gd name="connsiteX8" fmla="*/ 400856 w 1219852"/>
              <a:gd name="connsiteY8" fmla="*/ 628 h 1378859"/>
              <a:gd name="connsiteX9" fmla="*/ 443392 w 1219852"/>
              <a:gd name="connsiteY9" fmla="*/ 24637 h 1378859"/>
              <a:gd name="connsiteX10" fmla="*/ 693116 w 1219852"/>
              <a:gd name="connsiteY10" fmla="*/ 352458 h 1378859"/>
              <a:gd name="connsiteX11" fmla="*/ 768980 w 1219852"/>
              <a:gd name="connsiteY11" fmla="*/ 294553 h 1378859"/>
              <a:gd name="connsiteX12" fmla="*/ 899074 w 1219852"/>
              <a:gd name="connsiteY12" fmla="*/ 311863 h 1378859"/>
              <a:gd name="connsiteX13" fmla="*/ 1052480 w 1219852"/>
              <a:gd name="connsiteY13" fmla="*/ 511311 h 1378859"/>
              <a:gd name="connsiteX14" fmla="*/ 1034432 w 1219852"/>
              <a:gd name="connsiteY14" fmla="*/ 643022 h 1378859"/>
              <a:gd name="connsiteX15" fmla="*/ 958570 w 1219852"/>
              <a:gd name="connsiteY15" fmla="*/ 700926 h 1378859"/>
              <a:gd name="connsiteX16" fmla="*/ 1206410 w 1219852"/>
              <a:gd name="connsiteY16" fmla="*/ 1026273 h 1378859"/>
              <a:gd name="connsiteX17" fmla="*/ 1195167 w 1219852"/>
              <a:gd name="connsiteY17" fmla="*/ 1113307 h 1378859"/>
              <a:gd name="connsiteX18" fmla="*/ 865376 w 1219852"/>
              <a:gd name="connsiteY18" fmla="*/ 1365404 h 1378859"/>
              <a:gd name="connsiteX19" fmla="*/ 776182 w 1219852"/>
              <a:gd name="connsiteY19" fmla="*/ 1354149 h 1378859"/>
              <a:gd name="connsiteX20" fmla="*/ 13163 w 1219852"/>
              <a:gd name="connsiteY20" fmla="*/ 354015 h 1378859"/>
              <a:gd name="connsiteX21" fmla="*/ 25156 w 1219852"/>
              <a:gd name="connsiteY21" fmla="*/ 264730 h 1378859"/>
              <a:gd name="connsiteX22" fmla="*/ 354947 w 1219852"/>
              <a:gd name="connsiteY22" fmla="*/ 12633 h 1378859"/>
              <a:gd name="connsiteX23" fmla="*/ 400856 w 1219852"/>
              <a:gd name="connsiteY23" fmla="*/ 628 h 13788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852" h="1378859">
                <a:moveTo>
                  <a:pt x="827635" y="347519"/>
                </a:moveTo>
                <a:cubicBezTo>
                  <a:pt x="822183" y="346673"/>
                  <a:pt x="816355" y="347990"/>
                  <a:pt x="811843" y="351753"/>
                </a:cubicBezTo>
                <a:lnTo>
                  <a:pt x="736429" y="409315"/>
                </a:lnTo>
                <a:lnTo>
                  <a:pt x="914342" y="642867"/>
                </a:lnTo>
                <a:lnTo>
                  <a:pt x="990065" y="585069"/>
                </a:lnTo>
                <a:cubicBezTo>
                  <a:pt x="999840" y="579048"/>
                  <a:pt x="1001344" y="564748"/>
                  <a:pt x="994577" y="554964"/>
                </a:cubicBezTo>
                <a:lnTo>
                  <a:pt x="841171" y="356269"/>
                </a:lnTo>
                <a:cubicBezTo>
                  <a:pt x="838163" y="351377"/>
                  <a:pt x="833087" y="348366"/>
                  <a:pt x="827635" y="347519"/>
                </a:cubicBezTo>
                <a:close/>
                <a:moveTo>
                  <a:pt x="400856" y="628"/>
                </a:moveTo>
                <a:cubicBezTo>
                  <a:pt x="416971" y="2879"/>
                  <a:pt x="432524" y="11132"/>
                  <a:pt x="443392" y="24637"/>
                </a:cubicBezTo>
                <a:lnTo>
                  <a:pt x="693116" y="352458"/>
                </a:lnTo>
                <a:lnTo>
                  <a:pt x="768980" y="294553"/>
                </a:lnTo>
                <a:cubicBezTo>
                  <a:pt x="809587" y="262942"/>
                  <a:pt x="867491" y="271221"/>
                  <a:pt x="899074" y="311863"/>
                </a:cubicBezTo>
                <a:lnTo>
                  <a:pt x="1052480" y="511311"/>
                </a:lnTo>
                <a:cubicBezTo>
                  <a:pt x="1082559" y="553458"/>
                  <a:pt x="1075039" y="610658"/>
                  <a:pt x="1034432" y="643022"/>
                </a:cubicBezTo>
                <a:lnTo>
                  <a:pt x="958570" y="700926"/>
                </a:lnTo>
                <a:lnTo>
                  <a:pt x="1206410" y="1026273"/>
                </a:lnTo>
                <a:cubicBezTo>
                  <a:pt x="1228147" y="1052533"/>
                  <a:pt x="1222900" y="1093049"/>
                  <a:pt x="1195167" y="1113307"/>
                </a:cubicBezTo>
                <a:lnTo>
                  <a:pt x="865376" y="1365404"/>
                </a:lnTo>
                <a:cubicBezTo>
                  <a:pt x="837643" y="1387162"/>
                  <a:pt x="797918" y="1381910"/>
                  <a:pt x="776182" y="1354149"/>
                </a:cubicBezTo>
                <a:lnTo>
                  <a:pt x="13163" y="354015"/>
                </a:lnTo>
                <a:cubicBezTo>
                  <a:pt x="-8573" y="326254"/>
                  <a:pt x="-2577" y="286489"/>
                  <a:pt x="25156" y="264730"/>
                </a:cubicBezTo>
                <a:lnTo>
                  <a:pt x="354947" y="12633"/>
                </a:lnTo>
                <a:cubicBezTo>
                  <a:pt x="368064" y="2129"/>
                  <a:pt x="384741" y="-1623"/>
                  <a:pt x="400856" y="628"/>
                </a:cubicBezTo>
                <a:close/>
              </a:path>
            </a:pathLst>
          </a:custGeom>
          <a:solidFill>
            <a:srgbClr val="3A3A3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endParaRPr lang="de-DE" sz="3266" dirty="0">
              <a:latin typeface="Montserrat Medium" panose="00000600000000000000" pitchFamily="2" charset="0"/>
            </a:endParaRPr>
          </a:p>
        </p:txBody>
      </p:sp>
      <p:sp>
        <p:nvSpPr>
          <p:cNvPr id="77" name="Freeform 76">
            <a:extLst>
              <a:ext uri="{FF2B5EF4-FFF2-40B4-BE49-F238E27FC236}">
                <a16:creationId xmlns:a16="http://schemas.microsoft.com/office/drawing/2014/main" id="{07A90548-360E-4A49-9CB6-CF10138E30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2470" y="2407204"/>
            <a:ext cx="564493" cy="390774"/>
          </a:xfrm>
          <a:custGeom>
            <a:avLst/>
            <a:gdLst>
              <a:gd name="connsiteX0" fmla="*/ 869451 w 1128985"/>
              <a:gd name="connsiteY0" fmla="*/ 0 h 781547"/>
              <a:gd name="connsiteX1" fmla="*/ 1128985 w 1128985"/>
              <a:gd name="connsiteY1" fmla="*/ 139041 h 781547"/>
              <a:gd name="connsiteX2" fmla="*/ 373635 w 1128985"/>
              <a:gd name="connsiteY2" fmla="*/ 541882 h 781547"/>
              <a:gd name="connsiteX3" fmla="*/ 372915 w 1128985"/>
              <a:gd name="connsiteY3" fmla="*/ 540159 h 781547"/>
              <a:gd name="connsiteX4" fmla="*/ 370525 w 1128985"/>
              <a:gd name="connsiteY4" fmla="*/ 541496 h 781547"/>
              <a:gd name="connsiteX5" fmla="*/ 308363 w 1128985"/>
              <a:gd name="connsiteY5" fmla="*/ 760258 h 781547"/>
              <a:gd name="connsiteX6" fmla="*/ 268576 w 1128985"/>
              <a:gd name="connsiteY6" fmla="*/ 736766 h 781547"/>
              <a:gd name="connsiteX7" fmla="*/ 260481 w 1128985"/>
              <a:gd name="connsiteY7" fmla="*/ 726745 h 781547"/>
              <a:gd name="connsiteX8" fmla="*/ 253821 w 1128985"/>
              <a:gd name="connsiteY8" fmla="*/ 732495 h 781547"/>
              <a:gd name="connsiteX9" fmla="*/ 178622 w 1128985"/>
              <a:gd name="connsiteY9" fmla="*/ 774827 h 781547"/>
              <a:gd name="connsiteX10" fmla="*/ 101002 w 1128985"/>
              <a:gd name="connsiteY10" fmla="*/ 716467 h 781547"/>
              <a:gd name="connsiteX11" fmla="*/ 101849 w 1128985"/>
              <a:gd name="connsiteY11" fmla="*/ 714699 h 781547"/>
              <a:gd name="connsiteX12" fmla="*/ 73316 w 1128985"/>
              <a:gd name="connsiteY12" fmla="*/ 690524 h 781547"/>
              <a:gd name="connsiteX13" fmla="*/ 67006 w 1128985"/>
              <a:gd name="connsiteY13" fmla="*/ 653281 h 781547"/>
              <a:gd name="connsiteX14" fmla="*/ 68249 w 1128985"/>
              <a:gd name="connsiteY14" fmla="*/ 650682 h 781547"/>
              <a:gd name="connsiteX15" fmla="*/ 41233 w 1128985"/>
              <a:gd name="connsiteY15" fmla="*/ 628118 h 781547"/>
              <a:gd name="connsiteX16" fmla="*/ 34504 w 1128985"/>
              <a:gd name="connsiteY16" fmla="*/ 590723 h 781547"/>
              <a:gd name="connsiteX17" fmla="*/ 35223 w 1128985"/>
              <a:gd name="connsiteY17" fmla="*/ 589185 h 781547"/>
              <a:gd name="connsiteX18" fmla="*/ 7701 w 1128985"/>
              <a:gd name="connsiteY18" fmla="*/ 566199 h 781547"/>
              <a:gd name="connsiteX19" fmla="*/ 27763 w 1128985"/>
              <a:gd name="connsiteY19" fmla="*/ 495873 h 781547"/>
              <a:gd name="connsiteX20" fmla="*/ 101664 w 1128985"/>
              <a:gd name="connsiteY20" fmla="*/ 455419 h 781547"/>
              <a:gd name="connsiteX21" fmla="*/ 112337 w 1128985"/>
              <a:gd name="connsiteY21" fmla="*/ 451846 h 781547"/>
              <a:gd name="connsiteX22" fmla="*/ 110643 w 1128985"/>
              <a:gd name="connsiteY22" fmla="*/ 448278 h 781547"/>
              <a:gd name="connsiteX23" fmla="*/ 305011 w 1128985"/>
              <a:gd name="connsiteY23" fmla="*/ 340504 h 7815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128985" h="781547">
                <a:moveTo>
                  <a:pt x="869451" y="0"/>
                </a:moveTo>
                <a:lnTo>
                  <a:pt x="1128985" y="139041"/>
                </a:lnTo>
                <a:lnTo>
                  <a:pt x="373635" y="541882"/>
                </a:lnTo>
                <a:lnTo>
                  <a:pt x="372915" y="540159"/>
                </a:lnTo>
                <a:lnTo>
                  <a:pt x="370525" y="541496"/>
                </a:lnTo>
                <a:cubicBezTo>
                  <a:pt x="497845" y="675309"/>
                  <a:pt x="336074" y="744471"/>
                  <a:pt x="308363" y="760258"/>
                </a:cubicBezTo>
                <a:cubicBezTo>
                  <a:pt x="308363" y="760258"/>
                  <a:pt x="285520" y="750109"/>
                  <a:pt x="268576" y="736766"/>
                </a:cubicBezTo>
                <a:lnTo>
                  <a:pt x="260481" y="726745"/>
                </a:lnTo>
                <a:lnTo>
                  <a:pt x="253821" y="732495"/>
                </a:lnTo>
                <a:lnTo>
                  <a:pt x="178622" y="774827"/>
                </a:lnTo>
                <a:cubicBezTo>
                  <a:pt x="135194" y="798639"/>
                  <a:pt x="92613" y="754417"/>
                  <a:pt x="101002" y="716467"/>
                </a:cubicBezTo>
                <a:lnTo>
                  <a:pt x="101849" y="714699"/>
                </a:lnTo>
                <a:lnTo>
                  <a:pt x="73316" y="690524"/>
                </a:lnTo>
                <a:cubicBezTo>
                  <a:pt x="66831" y="679275"/>
                  <a:pt x="64148" y="665931"/>
                  <a:pt x="67006" y="653281"/>
                </a:cubicBezTo>
                <a:lnTo>
                  <a:pt x="68249" y="650682"/>
                </a:lnTo>
                <a:lnTo>
                  <a:pt x="41233" y="628118"/>
                </a:lnTo>
                <a:cubicBezTo>
                  <a:pt x="34586" y="616874"/>
                  <a:pt x="31734" y="603503"/>
                  <a:pt x="34504" y="590723"/>
                </a:cubicBezTo>
                <a:lnTo>
                  <a:pt x="35223" y="589185"/>
                </a:lnTo>
                <a:lnTo>
                  <a:pt x="7701" y="566199"/>
                </a:lnTo>
                <a:cubicBezTo>
                  <a:pt x="-5456" y="544006"/>
                  <a:pt x="-3590" y="513478"/>
                  <a:pt x="27763" y="495873"/>
                </a:cubicBezTo>
                <a:lnTo>
                  <a:pt x="101664" y="455419"/>
                </a:lnTo>
                <a:lnTo>
                  <a:pt x="112337" y="451846"/>
                </a:lnTo>
                <a:lnTo>
                  <a:pt x="110643" y="448278"/>
                </a:lnTo>
                <a:lnTo>
                  <a:pt x="305011" y="340504"/>
                </a:lnTo>
                <a:close/>
              </a:path>
            </a:pathLst>
          </a:custGeom>
          <a:solidFill>
            <a:srgbClr val="F49D5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endParaRPr lang="de-DE" sz="3266" dirty="0">
              <a:latin typeface="Montserrat Medium" panose="00000600000000000000" pitchFamily="2" charset="0"/>
            </a:endParaRPr>
          </a:p>
        </p:txBody>
      </p:sp>
      <p:sp>
        <p:nvSpPr>
          <p:cNvPr id="24" name="Freeform 21">
            <a:extLst>
              <a:ext uri="{FF2B5EF4-FFF2-40B4-BE49-F238E27FC236}">
                <a16:creationId xmlns:a16="http://schemas.microsoft.com/office/drawing/2014/main" id="{6CF7C3A1-C636-5243-A15E-D13D799D54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85978" y="2178901"/>
            <a:ext cx="802369" cy="1043906"/>
          </a:xfrm>
          <a:custGeom>
            <a:avLst/>
            <a:gdLst>
              <a:gd name="T0" fmla="*/ 0 w 2138"/>
              <a:gd name="T1" fmla="*/ 2511 h 2783"/>
              <a:gd name="T2" fmla="*/ 0 w 2138"/>
              <a:gd name="T3" fmla="*/ 2511 h 2783"/>
              <a:gd name="T4" fmla="*/ 1037 w 2138"/>
              <a:gd name="T5" fmla="*/ 311 h 2783"/>
              <a:gd name="T6" fmla="*/ 1688 w 2138"/>
              <a:gd name="T7" fmla="*/ 0 h 2783"/>
              <a:gd name="T8" fmla="*/ 2137 w 2138"/>
              <a:gd name="T9" fmla="*/ 396 h 2783"/>
              <a:gd name="T10" fmla="*/ 2137 w 2138"/>
              <a:gd name="T11" fmla="*/ 396 h 2783"/>
              <a:gd name="T12" fmla="*/ 1916 w 2138"/>
              <a:gd name="T13" fmla="*/ 1261 h 2783"/>
              <a:gd name="T14" fmla="*/ 1181 w 2138"/>
              <a:gd name="T15" fmla="*/ 2782 h 2783"/>
              <a:gd name="T16" fmla="*/ 0 w 2138"/>
              <a:gd name="T17" fmla="*/ 2511 h 27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138" h="2783">
                <a:moveTo>
                  <a:pt x="0" y="2511"/>
                </a:moveTo>
                <a:lnTo>
                  <a:pt x="0" y="2511"/>
                </a:lnTo>
                <a:cubicBezTo>
                  <a:pt x="0" y="2511"/>
                  <a:pt x="778" y="571"/>
                  <a:pt x="1037" y="311"/>
                </a:cubicBezTo>
                <a:lnTo>
                  <a:pt x="1688" y="0"/>
                </a:lnTo>
                <a:lnTo>
                  <a:pt x="2137" y="396"/>
                </a:lnTo>
                <a:lnTo>
                  <a:pt x="2137" y="396"/>
                </a:lnTo>
                <a:cubicBezTo>
                  <a:pt x="2137" y="396"/>
                  <a:pt x="2011" y="1066"/>
                  <a:pt x="1916" y="1261"/>
                </a:cubicBezTo>
                <a:lnTo>
                  <a:pt x="1181" y="2782"/>
                </a:lnTo>
                <a:lnTo>
                  <a:pt x="0" y="2511"/>
                </a:lnTo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de-DE" sz="3266" dirty="0">
              <a:latin typeface="Montserrat Medium" panose="00000600000000000000" pitchFamily="2" charset="0"/>
            </a:endParaRPr>
          </a:p>
        </p:txBody>
      </p:sp>
      <p:sp>
        <p:nvSpPr>
          <p:cNvPr id="30" name="Freeform 27">
            <a:extLst>
              <a:ext uri="{FF2B5EF4-FFF2-40B4-BE49-F238E27FC236}">
                <a16:creationId xmlns:a16="http://schemas.microsoft.com/office/drawing/2014/main" id="{2EFCED14-40B9-C843-B8AB-3CC8CC380D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96440" y="1591601"/>
            <a:ext cx="580685" cy="792443"/>
          </a:xfrm>
          <a:custGeom>
            <a:avLst/>
            <a:gdLst>
              <a:gd name="T0" fmla="*/ 6 w 1549"/>
              <a:gd name="T1" fmla="*/ 889 h 2112"/>
              <a:gd name="T2" fmla="*/ 6 w 1549"/>
              <a:gd name="T3" fmla="*/ 889 h 2112"/>
              <a:gd name="T4" fmla="*/ 137 w 1549"/>
              <a:gd name="T5" fmla="*/ 1347 h 2112"/>
              <a:gd name="T6" fmla="*/ 137 w 1549"/>
              <a:gd name="T7" fmla="*/ 1347 h 2112"/>
              <a:gd name="T8" fmla="*/ 64 w 1549"/>
              <a:gd name="T9" fmla="*/ 1562 h 2112"/>
              <a:gd name="T10" fmla="*/ 480 w 1549"/>
              <a:gd name="T11" fmla="*/ 2111 h 2112"/>
              <a:gd name="T12" fmla="*/ 618 w 1549"/>
              <a:gd name="T13" fmla="*/ 1707 h 2112"/>
              <a:gd name="T14" fmla="*/ 618 w 1549"/>
              <a:gd name="T15" fmla="*/ 1707 h 2112"/>
              <a:gd name="T16" fmla="*/ 799 w 1549"/>
              <a:gd name="T17" fmla="*/ 1819 h 2112"/>
              <a:gd name="T18" fmla="*/ 799 w 1549"/>
              <a:gd name="T19" fmla="*/ 1819 h 2112"/>
              <a:gd name="T20" fmla="*/ 996 w 1549"/>
              <a:gd name="T21" fmla="*/ 1811 h 2112"/>
              <a:gd name="T22" fmla="*/ 996 w 1549"/>
              <a:gd name="T23" fmla="*/ 1811 h 2112"/>
              <a:gd name="T24" fmla="*/ 1138 w 1549"/>
              <a:gd name="T25" fmla="*/ 1444 h 2112"/>
              <a:gd name="T26" fmla="*/ 1138 w 1549"/>
              <a:gd name="T27" fmla="*/ 1444 h 2112"/>
              <a:gd name="T28" fmla="*/ 1181 w 1549"/>
              <a:gd name="T29" fmla="*/ 1213 h 2112"/>
              <a:gd name="T30" fmla="*/ 1181 w 1549"/>
              <a:gd name="T31" fmla="*/ 1213 h 2112"/>
              <a:gd name="T32" fmla="*/ 6 w 1549"/>
              <a:gd name="T33" fmla="*/ 889 h 2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549" h="2112">
                <a:moveTo>
                  <a:pt x="6" y="889"/>
                </a:moveTo>
                <a:lnTo>
                  <a:pt x="6" y="889"/>
                </a:lnTo>
                <a:cubicBezTo>
                  <a:pt x="7" y="1108"/>
                  <a:pt x="138" y="1283"/>
                  <a:pt x="137" y="1347"/>
                </a:cubicBezTo>
                <a:lnTo>
                  <a:pt x="137" y="1347"/>
                </a:lnTo>
                <a:cubicBezTo>
                  <a:pt x="135" y="1386"/>
                  <a:pt x="64" y="1562"/>
                  <a:pt x="64" y="1562"/>
                </a:cubicBezTo>
                <a:lnTo>
                  <a:pt x="480" y="2111"/>
                </a:lnTo>
                <a:lnTo>
                  <a:pt x="618" y="1707"/>
                </a:lnTo>
                <a:lnTo>
                  <a:pt x="618" y="1707"/>
                </a:lnTo>
                <a:cubicBezTo>
                  <a:pt x="618" y="1707"/>
                  <a:pt x="715" y="1790"/>
                  <a:pt x="799" y="1819"/>
                </a:cubicBezTo>
                <a:lnTo>
                  <a:pt x="799" y="1819"/>
                </a:lnTo>
                <a:cubicBezTo>
                  <a:pt x="799" y="1819"/>
                  <a:pt x="944" y="1887"/>
                  <a:pt x="996" y="1811"/>
                </a:cubicBezTo>
                <a:lnTo>
                  <a:pt x="996" y="1811"/>
                </a:lnTo>
                <a:cubicBezTo>
                  <a:pt x="1064" y="1589"/>
                  <a:pt x="1084" y="1565"/>
                  <a:pt x="1138" y="1444"/>
                </a:cubicBezTo>
                <a:lnTo>
                  <a:pt x="1138" y="1444"/>
                </a:lnTo>
                <a:cubicBezTo>
                  <a:pt x="1259" y="1427"/>
                  <a:pt x="1293" y="1359"/>
                  <a:pt x="1181" y="1213"/>
                </a:cubicBezTo>
                <a:lnTo>
                  <a:pt x="1181" y="1213"/>
                </a:lnTo>
                <a:cubicBezTo>
                  <a:pt x="1548" y="238"/>
                  <a:pt x="0" y="0"/>
                  <a:pt x="6" y="889"/>
                </a:cubicBezTo>
              </a:path>
            </a:pathLst>
          </a:custGeom>
          <a:solidFill>
            <a:srgbClr val="F49D5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sz="3266" dirty="0">
              <a:latin typeface="Montserrat Medium" panose="00000600000000000000" pitchFamily="2" charset="0"/>
            </a:endParaRPr>
          </a:p>
        </p:txBody>
      </p:sp>
      <p:sp>
        <p:nvSpPr>
          <p:cNvPr id="31" name="Freeform 28">
            <a:extLst>
              <a:ext uri="{FF2B5EF4-FFF2-40B4-BE49-F238E27FC236}">
                <a16:creationId xmlns:a16="http://schemas.microsoft.com/office/drawing/2014/main" id="{69B6EA06-CA26-0549-B7F3-1C76FE6EDA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97" y="3327034"/>
            <a:ext cx="1212653" cy="1088575"/>
          </a:xfrm>
          <a:custGeom>
            <a:avLst/>
            <a:gdLst>
              <a:gd name="T0" fmla="*/ 2265 w 3234"/>
              <a:gd name="T1" fmla="*/ 0 h 2903"/>
              <a:gd name="T2" fmla="*/ 2265 w 3234"/>
              <a:gd name="T3" fmla="*/ 0 h 2903"/>
              <a:gd name="T4" fmla="*/ 2010 w 3234"/>
              <a:gd name="T5" fmla="*/ 1351 h 2903"/>
              <a:gd name="T6" fmla="*/ 0 w 3234"/>
              <a:gd name="T7" fmla="*/ 2433 h 2903"/>
              <a:gd name="T8" fmla="*/ 145 w 3234"/>
              <a:gd name="T9" fmla="*/ 2902 h 2903"/>
              <a:gd name="T10" fmla="*/ 145 w 3234"/>
              <a:gd name="T11" fmla="*/ 2902 h 2903"/>
              <a:gd name="T12" fmla="*/ 2933 w 3234"/>
              <a:gd name="T13" fmla="*/ 1681 h 2903"/>
              <a:gd name="T14" fmla="*/ 3233 w 3234"/>
              <a:gd name="T15" fmla="*/ 265 h 2903"/>
              <a:gd name="T16" fmla="*/ 2265 w 3234"/>
              <a:gd name="T17" fmla="*/ 0 h 29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234" h="2903">
                <a:moveTo>
                  <a:pt x="2265" y="0"/>
                </a:moveTo>
                <a:lnTo>
                  <a:pt x="2265" y="0"/>
                </a:lnTo>
                <a:cubicBezTo>
                  <a:pt x="2288" y="50"/>
                  <a:pt x="2010" y="1351"/>
                  <a:pt x="2010" y="1351"/>
                </a:cubicBezTo>
                <a:lnTo>
                  <a:pt x="0" y="2433"/>
                </a:lnTo>
                <a:lnTo>
                  <a:pt x="145" y="2902"/>
                </a:lnTo>
                <a:lnTo>
                  <a:pt x="145" y="2902"/>
                </a:lnTo>
                <a:cubicBezTo>
                  <a:pt x="145" y="2902"/>
                  <a:pt x="2750" y="1882"/>
                  <a:pt x="2933" y="1681"/>
                </a:cubicBezTo>
                <a:lnTo>
                  <a:pt x="3233" y="265"/>
                </a:lnTo>
                <a:lnTo>
                  <a:pt x="2265" y="0"/>
                </a:lnTo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de-DE" sz="3266" dirty="0">
              <a:latin typeface="Montserrat Medium" panose="00000600000000000000" pitchFamily="2" charset="0"/>
            </a:endParaRPr>
          </a:p>
        </p:txBody>
      </p:sp>
      <p:sp>
        <p:nvSpPr>
          <p:cNvPr id="32" name="Freeform 29">
            <a:extLst>
              <a:ext uri="{FF2B5EF4-FFF2-40B4-BE49-F238E27FC236}">
                <a16:creationId xmlns:a16="http://schemas.microsoft.com/office/drawing/2014/main" id="{AEA338F3-C4F9-4242-84BB-4DC25A0225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89108" y="2221915"/>
            <a:ext cx="964498" cy="370579"/>
          </a:xfrm>
          <a:custGeom>
            <a:avLst/>
            <a:gdLst>
              <a:gd name="T0" fmla="*/ 0 w 2569"/>
              <a:gd name="T1" fmla="*/ 609 h 986"/>
              <a:gd name="T2" fmla="*/ 613 w 2569"/>
              <a:gd name="T3" fmla="*/ 171 h 986"/>
              <a:gd name="T4" fmla="*/ 613 w 2569"/>
              <a:gd name="T5" fmla="*/ 171 h 986"/>
              <a:gd name="T6" fmla="*/ 1461 w 2569"/>
              <a:gd name="T7" fmla="*/ 80 h 986"/>
              <a:gd name="T8" fmla="*/ 1461 w 2569"/>
              <a:gd name="T9" fmla="*/ 80 h 986"/>
              <a:gd name="T10" fmla="*/ 2171 w 2569"/>
              <a:gd name="T11" fmla="*/ 690 h 986"/>
              <a:gd name="T12" fmla="*/ 748 w 2569"/>
              <a:gd name="T13" fmla="*/ 708 h 986"/>
              <a:gd name="T14" fmla="*/ 211 w 2569"/>
              <a:gd name="T15" fmla="*/ 985 h 986"/>
              <a:gd name="T16" fmla="*/ 0 w 2569"/>
              <a:gd name="T17" fmla="*/ 609 h 9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569" h="986">
                <a:moveTo>
                  <a:pt x="0" y="609"/>
                </a:moveTo>
                <a:lnTo>
                  <a:pt x="613" y="171"/>
                </a:lnTo>
                <a:lnTo>
                  <a:pt x="613" y="171"/>
                </a:lnTo>
                <a:cubicBezTo>
                  <a:pt x="613" y="171"/>
                  <a:pt x="1046" y="110"/>
                  <a:pt x="1461" y="80"/>
                </a:cubicBezTo>
                <a:lnTo>
                  <a:pt x="1461" y="80"/>
                </a:lnTo>
                <a:cubicBezTo>
                  <a:pt x="2568" y="0"/>
                  <a:pt x="2360" y="688"/>
                  <a:pt x="2171" y="690"/>
                </a:cubicBezTo>
                <a:lnTo>
                  <a:pt x="748" y="708"/>
                </a:lnTo>
                <a:lnTo>
                  <a:pt x="211" y="985"/>
                </a:lnTo>
                <a:lnTo>
                  <a:pt x="0" y="609"/>
                </a:lnTo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de-DE" sz="3266" dirty="0">
              <a:latin typeface="Montserrat Medium" panose="00000600000000000000" pitchFamily="2" charset="0"/>
            </a:endParaRPr>
          </a:p>
        </p:txBody>
      </p:sp>
      <p:sp>
        <p:nvSpPr>
          <p:cNvPr id="33" name="Freeform 30">
            <a:extLst>
              <a:ext uri="{FF2B5EF4-FFF2-40B4-BE49-F238E27FC236}">
                <a16:creationId xmlns:a16="http://schemas.microsoft.com/office/drawing/2014/main" id="{4EBEB845-00FB-2C42-B90A-A5F9110DFD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43500" y="1659431"/>
            <a:ext cx="564141" cy="438407"/>
          </a:xfrm>
          <a:custGeom>
            <a:avLst/>
            <a:gdLst>
              <a:gd name="T0" fmla="*/ 1443 w 1503"/>
              <a:gd name="T1" fmla="*/ 766 h 1167"/>
              <a:gd name="T2" fmla="*/ 883 w 1503"/>
              <a:gd name="T3" fmla="*/ 649 h 1167"/>
              <a:gd name="T4" fmla="*/ 883 w 1503"/>
              <a:gd name="T5" fmla="*/ 649 h 1167"/>
              <a:gd name="T6" fmla="*/ 275 w 1503"/>
              <a:gd name="T7" fmla="*/ 1166 h 1167"/>
              <a:gd name="T8" fmla="*/ 275 w 1503"/>
              <a:gd name="T9" fmla="*/ 1166 h 1167"/>
              <a:gd name="T10" fmla="*/ 236 w 1503"/>
              <a:gd name="T11" fmla="*/ 380 h 1167"/>
              <a:gd name="T12" fmla="*/ 236 w 1503"/>
              <a:gd name="T13" fmla="*/ 380 h 1167"/>
              <a:gd name="T14" fmla="*/ 940 w 1503"/>
              <a:gd name="T15" fmla="*/ 101 h 1167"/>
              <a:gd name="T16" fmla="*/ 880 w 1503"/>
              <a:gd name="T17" fmla="*/ 171 h 1167"/>
              <a:gd name="T18" fmla="*/ 880 w 1503"/>
              <a:gd name="T19" fmla="*/ 171 h 1167"/>
              <a:gd name="T20" fmla="*/ 1176 w 1503"/>
              <a:gd name="T21" fmla="*/ 210 h 1167"/>
              <a:gd name="T22" fmla="*/ 1176 w 1503"/>
              <a:gd name="T23" fmla="*/ 210 h 1167"/>
              <a:gd name="T24" fmla="*/ 1443 w 1503"/>
              <a:gd name="T25" fmla="*/ 766 h 1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503" h="1167">
                <a:moveTo>
                  <a:pt x="1443" y="766"/>
                </a:moveTo>
                <a:lnTo>
                  <a:pt x="883" y="649"/>
                </a:lnTo>
                <a:lnTo>
                  <a:pt x="883" y="649"/>
                </a:lnTo>
                <a:cubicBezTo>
                  <a:pt x="883" y="649"/>
                  <a:pt x="678" y="971"/>
                  <a:pt x="275" y="1166"/>
                </a:cubicBezTo>
                <a:lnTo>
                  <a:pt x="275" y="1166"/>
                </a:lnTo>
                <a:cubicBezTo>
                  <a:pt x="275" y="1166"/>
                  <a:pt x="0" y="799"/>
                  <a:pt x="236" y="380"/>
                </a:cubicBezTo>
                <a:lnTo>
                  <a:pt x="236" y="380"/>
                </a:lnTo>
                <a:cubicBezTo>
                  <a:pt x="236" y="380"/>
                  <a:pt x="434" y="0"/>
                  <a:pt x="940" y="101"/>
                </a:cubicBezTo>
                <a:lnTo>
                  <a:pt x="880" y="171"/>
                </a:lnTo>
                <a:lnTo>
                  <a:pt x="880" y="171"/>
                </a:lnTo>
                <a:cubicBezTo>
                  <a:pt x="880" y="171"/>
                  <a:pt x="867" y="64"/>
                  <a:pt x="1176" y="210"/>
                </a:cubicBezTo>
                <a:lnTo>
                  <a:pt x="1176" y="210"/>
                </a:lnTo>
                <a:cubicBezTo>
                  <a:pt x="1176" y="210"/>
                  <a:pt x="1502" y="386"/>
                  <a:pt x="1443" y="766"/>
                </a:cubicBezTo>
              </a:path>
            </a:pathLst>
          </a:custGeom>
          <a:solidFill>
            <a:srgbClr val="3A3A3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sz="3266" dirty="0">
              <a:latin typeface="Montserrat Medium" panose="00000600000000000000" pitchFamily="2" charset="0"/>
            </a:endParaRPr>
          </a:p>
        </p:txBody>
      </p:sp>
      <p:sp>
        <p:nvSpPr>
          <p:cNvPr id="34" name="Freeform 31">
            <a:extLst>
              <a:ext uri="{FF2B5EF4-FFF2-40B4-BE49-F238E27FC236}">
                <a16:creationId xmlns:a16="http://schemas.microsoft.com/office/drawing/2014/main" id="{4A31492C-1B4E-5F43-AE34-25C32DCFD2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9011" y="1940673"/>
            <a:ext cx="102571" cy="127386"/>
          </a:xfrm>
          <a:custGeom>
            <a:avLst/>
            <a:gdLst>
              <a:gd name="T0" fmla="*/ 273 w 274"/>
              <a:gd name="T1" fmla="*/ 140 h 340"/>
              <a:gd name="T2" fmla="*/ 273 w 274"/>
              <a:gd name="T3" fmla="*/ 140 h 340"/>
              <a:gd name="T4" fmla="*/ 135 w 274"/>
              <a:gd name="T5" fmla="*/ 3 h 340"/>
              <a:gd name="T6" fmla="*/ 135 w 274"/>
              <a:gd name="T7" fmla="*/ 3 h 340"/>
              <a:gd name="T8" fmla="*/ 176 w 274"/>
              <a:gd name="T9" fmla="*/ 339 h 340"/>
              <a:gd name="T10" fmla="*/ 273 w 274"/>
              <a:gd name="T11" fmla="*/ 140 h 3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74" h="340">
                <a:moveTo>
                  <a:pt x="273" y="140"/>
                </a:moveTo>
                <a:lnTo>
                  <a:pt x="273" y="140"/>
                </a:lnTo>
                <a:cubicBezTo>
                  <a:pt x="273" y="140"/>
                  <a:pt x="239" y="6"/>
                  <a:pt x="135" y="3"/>
                </a:cubicBezTo>
                <a:lnTo>
                  <a:pt x="135" y="3"/>
                </a:lnTo>
                <a:cubicBezTo>
                  <a:pt x="0" y="0"/>
                  <a:pt x="105" y="335"/>
                  <a:pt x="176" y="339"/>
                </a:cubicBezTo>
                <a:lnTo>
                  <a:pt x="273" y="140"/>
                </a:lnTo>
              </a:path>
            </a:pathLst>
          </a:custGeom>
          <a:solidFill>
            <a:srgbClr val="F49D5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sz="3266" dirty="0">
              <a:latin typeface="Montserrat Medium" panose="00000600000000000000" pitchFamily="2" charset="0"/>
            </a:endParaRPr>
          </a:p>
        </p:txBody>
      </p:sp>
      <p:sp>
        <p:nvSpPr>
          <p:cNvPr id="35" name="Freeform 32">
            <a:extLst>
              <a:ext uri="{FF2B5EF4-FFF2-40B4-BE49-F238E27FC236}">
                <a16:creationId xmlns:a16="http://schemas.microsoft.com/office/drawing/2014/main" id="{A4BA1F23-8B1E-4242-B9B7-F936FD1F49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00666" y="2284781"/>
            <a:ext cx="74447" cy="258082"/>
          </a:xfrm>
          <a:custGeom>
            <a:avLst/>
            <a:gdLst>
              <a:gd name="T0" fmla="*/ 0 w 199"/>
              <a:gd name="T1" fmla="*/ 0 h 689"/>
              <a:gd name="T2" fmla="*/ 102 w 199"/>
              <a:gd name="T3" fmla="*/ 688 h 689"/>
              <a:gd name="T4" fmla="*/ 198 w 199"/>
              <a:gd name="T5" fmla="*/ 263 h 689"/>
              <a:gd name="T6" fmla="*/ 0 w 199"/>
              <a:gd name="T7" fmla="*/ 0 h 6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9" h="689">
                <a:moveTo>
                  <a:pt x="0" y="0"/>
                </a:moveTo>
                <a:lnTo>
                  <a:pt x="102" y="688"/>
                </a:lnTo>
                <a:lnTo>
                  <a:pt x="198" y="263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de-DE" sz="3266" dirty="0">
              <a:latin typeface="Montserrat Medium" panose="00000600000000000000" pitchFamily="2" charset="0"/>
            </a:endParaRPr>
          </a:p>
        </p:txBody>
      </p:sp>
      <p:sp>
        <p:nvSpPr>
          <p:cNvPr id="36" name="Freeform 33">
            <a:extLst>
              <a:ext uri="{FF2B5EF4-FFF2-40B4-BE49-F238E27FC236}">
                <a16:creationId xmlns:a16="http://schemas.microsoft.com/office/drawing/2014/main" id="{41A05F0E-66A8-2441-8365-EAEB097F87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43858" y="4231973"/>
            <a:ext cx="438409" cy="195216"/>
          </a:xfrm>
          <a:custGeom>
            <a:avLst/>
            <a:gdLst>
              <a:gd name="T0" fmla="*/ 5 w 1167"/>
              <a:gd name="T1" fmla="*/ 161 h 521"/>
              <a:gd name="T2" fmla="*/ 5 w 1167"/>
              <a:gd name="T3" fmla="*/ 161 h 521"/>
              <a:gd name="T4" fmla="*/ 149 w 1167"/>
              <a:gd name="T5" fmla="*/ 520 h 521"/>
              <a:gd name="T6" fmla="*/ 1148 w 1167"/>
              <a:gd name="T7" fmla="*/ 230 h 521"/>
              <a:gd name="T8" fmla="*/ 1148 w 1167"/>
              <a:gd name="T9" fmla="*/ 230 h 521"/>
              <a:gd name="T10" fmla="*/ 913 w 1167"/>
              <a:gd name="T11" fmla="*/ 54 h 521"/>
              <a:gd name="T12" fmla="*/ 460 w 1167"/>
              <a:gd name="T13" fmla="*/ 94 h 521"/>
              <a:gd name="T14" fmla="*/ 336 w 1167"/>
              <a:gd name="T15" fmla="*/ 42 h 521"/>
              <a:gd name="T16" fmla="*/ 5 w 1167"/>
              <a:gd name="T17" fmla="*/ 161 h 5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67" h="521">
                <a:moveTo>
                  <a:pt x="5" y="161"/>
                </a:moveTo>
                <a:lnTo>
                  <a:pt x="5" y="161"/>
                </a:lnTo>
                <a:cubicBezTo>
                  <a:pt x="5" y="161"/>
                  <a:pt x="0" y="369"/>
                  <a:pt x="149" y="520"/>
                </a:cubicBezTo>
                <a:lnTo>
                  <a:pt x="1148" y="230"/>
                </a:lnTo>
                <a:lnTo>
                  <a:pt x="1148" y="230"/>
                </a:lnTo>
                <a:cubicBezTo>
                  <a:pt x="1148" y="230"/>
                  <a:pt x="1166" y="0"/>
                  <a:pt x="913" y="54"/>
                </a:cubicBezTo>
                <a:lnTo>
                  <a:pt x="460" y="94"/>
                </a:lnTo>
                <a:lnTo>
                  <a:pt x="336" y="42"/>
                </a:lnTo>
                <a:lnTo>
                  <a:pt x="5" y="161"/>
                </a:lnTo>
              </a:path>
            </a:pathLst>
          </a:custGeom>
          <a:solidFill>
            <a:schemeClr val="tx2">
              <a:lumMod val="95000"/>
              <a:lumOff val="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de-DE" sz="3266" dirty="0">
              <a:latin typeface="Montserrat Medium" panose="00000600000000000000" pitchFamily="2" charset="0"/>
            </a:endParaRPr>
          </a:p>
        </p:txBody>
      </p:sp>
      <p:sp>
        <p:nvSpPr>
          <p:cNvPr id="37" name="Freeform 34">
            <a:extLst>
              <a:ext uri="{FF2B5EF4-FFF2-40B4-BE49-F238E27FC236}">
                <a16:creationId xmlns:a16="http://schemas.microsoft.com/office/drawing/2014/main" id="{D7328264-82DD-2045-A292-A62E46C82C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88393" y="4266715"/>
            <a:ext cx="210106" cy="438407"/>
          </a:xfrm>
          <a:custGeom>
            <a:avLst/>
            <a:gdLst>
              <a:gd name="T0" fmla="*/ 380 w 559"/>
              <a:gd name="T1" fmla="*/ 0 h 1169"/>
              <a:gd name="T2" fmla="*/ 380 w 559"/>
              <a:gd name="T3" fmla="*/ 0 h 1169"/>
              <a:gd name="T4" fmla="*/ 0 w 559"/>
              <a:gd name="T5" fmla="*/ 172 h 1169"/>
              <a:gd name="T6" fmla="*/ 327 w 559"/>
              <a:gd name="T7" fmla="*/ 1159 h 1169"/>
              <a:gd name="T8" fmla="*/ 327 w 559"/>
              <a:gd name="T9" fmla="*/ 1159 h 1169"/>
              <a:gd name="T10" fmla="*/ 494 w 559"/>
              <a:gd name="T11" fmla="*/ 918 h 1169"/>
              <a:gd name="T12" fmla="*/ 438 w 559"/>
              <a:gd name="T13" fmla="*/ 467 h 1169"/>
              <a:gd name="T14" fmla="*/ 485 w 559"/>
              <a:gd name="T15" fmla="*/ 340 h 1169"/>
              <a:gd name="T16" fmla="*/ 380 w 559"/>
              <a:gd name="T17" fmla="*/ 0 h 11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59" h="1169">
                <a:moveTo>
                  <a:pt x="380" y="0"/>
                </a:moveTo>
                <a:lnTo>
                  <a:pt x="380" y="0"/>
                </a:lnTo>
                <a:cubicBezTo>
                  <a:pt x="380" y="0"/>
                  <a:pt x="146" y="17"/>
                  <a:pt x="0" y="172"/>
                </a:cubicBezTo>
                <a:lnTo>
                  <a:pt x="327" y="1159"/>
                </a:lnTo>
                <a:lnTo>
                  <a:pt x="327" y="1159"/>
                </a:lnTo>
                <a:cubicBezTo>
                  <a:pt x="327" y="1159"/>
                  <a:pt x="558" y="1168"/>
                  <a:pt x="494" y="918"/>
                </a:cubicBezTo>
                <a:lnTo>
                  <a:pt x="438" y="467"/>
                </a:lnTo>
                <a:lnTo>
                  <a:pt x="485" y="340"/>
                </a:lnTo>
                <a:lnTo>
                  <a:pt x="380" y="0"/>
                </a:lnTo>
              </a:path>
            </a:pathLst>
          </a:custGeom>
          <a:solidFill>
            <a:schemeClr val="tx2">
              <a:lumMod val="95000"/>
              <a:lumOff val="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de-DE" sz="3266" dirty="0">
              <a:latin typeface="Montserrat Medium" panose="00000600000000000000" pitchFamily="2" charset="0"/>
            </a:endParaRPr>
          </a:p>
        </p:txBody>
      </p:sp>
      <p:sp>
        <p:nvSpPr>
          <p:cNvPr id="38" name="Freeform 35">
            <a:extLst>
              <a:ext uri="{FF2B5EF4-FFF2-40B4-BE49-F238E27FC236}">
                <a16:creationId xmlns:a16="http://schemas.microsoft.com/office/drawing/2014/main" id="{42B153FB-A2EC-4048-A183-F88D4DA9AD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38716" y="2336066"/>
            <a:ext cx="46322" cy="86028"/>
          </a:xfrm>
          <a:custGeom>
            <a:avLst/>
            <a:gdLst>
              <a:gd name="T0" fmla="*/ 0 w 122"/>
              <a:gd name="T1" fmla="*/ 0 h 230"/>
              <a:gd name="T2" fmla="*/ 121 w 122"/>
              <a:gd name="T3" fmla="*/ 67 h 230"/>
              <a:gd name="T4" fmla="*/ 86 w 122"/>
              <a:gd name="T5" fmla="*/ 229 h 230"/>
              <a:gd name="T6" fmla="*/ 0 w 122"/>
              <a:gd name="T7" fmla="*/ 0 h 2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2" h="230">
                <a:moveTo>
                  <a:pt x="0" y="0"/>
                </a:moveTo>
                <a:lnTo>
                  <a:pt x="121" y="67"/>
                </a:lnTo>
                <a:lnTo>
                  <a:pt x="86" y="229"/>
                </a:lnTo>
                <a:lnTo>
                  <a:pt x="0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3266" dirty="0">
              <a:latin typeface="Montserrat Medium" panose="00000600000000000000" pitchFamily="2" charset="0"/>
            </a:endParaRPr>
          </a:p>
        </p:txBody>
      </p:sp>
      <p:sp>
        <p:nvSpPr>
          <p:cNvPr id="39" name="Freeform 36">
            <a:extLst>
              <a:ext uri="{FF2B5EF4-FFF2-40B4-BE49-F238E27FC236}">
                <a16:creationId xmlns:a16="http://schemas.microsoft.com/office/drawing/2014/main" id="{4BA466DB-0AAF-694F-BE6B-E128795895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1109" y="2382389"/>
            <a:ext cx="129041" cy="446680"/>
          </a:xfrm>
          <a:custGeom>
            <a:avLst/>
            <a:gdLst>
              <a:gd name="T0" fmla="*/ 308 w 346"/>
              <a:gd name="T1" fmla="*/ 0 h 1190"/>
              <a:gd name="T2" fmla="*/ 0 w 346"/>
              <a:gd name="T3" fmla="*/ 935 h 1190"/>
              <a:gd name="T4" fmla="*/ 83 w 346"/>
              <a:gd name="T5" fmla="*/ 1189 h 1190"/>
              <a:gd name="T6" fmla="*/ 215 w 346"/>
              <a:gd name="T7" fmla="*/ 1076 h 1190"/>
              <a:gd name="T8" fmla="*/ 345 w 346"/>
              <a:gd name="T9" fmla="*/ 102 h 1190"/>
              <a:gd name="T10" fmla="*/ 308 w 346"/>
              <a:gd name="T11" fmla="*/ 0 h 1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46" h="1190">
                <a:moveTo>
                  <a:pt x="308" y="0"/>
                </a:moveTo>
                <a:lnTo>
                  <a:pt x="0" y="935"/>
                </a:lnTo>
                <a:lnTo>
                  <a:pt x="83" y="1189"/>
                </a:lnTo>
                <a:lnTo>
                  <a:pt x="215" y="1076"/>
                </a:lnTo>
                <a:lnTo>
                  <a:pt x="345" y="102"/>
                </a:lnTo>
                <a:lnTo>
                  <a:pt x="308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3266" dirty="0">
              <a:latin typeface="Montserrat Medium" panose="00000600000000000000" pitchFamily="2" charset="0"/>
            </a:endParaRPr>
          </a:p>
        </p:txBody>
      </p:sp>
      <p:sp>
        <p:nvSpPr>
          <p:cNvPr id="40" name="Freeform 37">
            <a:extLst>
              <a:ext uri="{FF2B5EF4-FFF2-40B4-BE49-F238E27FC236}">
                <a16:creationId xmlns:a16="http://schemas.microsoft.com/office/drawing/2014/main" id="{6B1E8B81-4115-C34F-9F1A-75D9CB36DA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41309" y="3120237"/>
            <a:ext cx="1186184" cy="1196109"/>
          </a:xfrm>
          <a:custGeom>
            <a:avLst/>
            <a:gdLst>
              <a:gd name="T0" fmla="*/ 118 w 3160"/>
              <a:gd name="T1" fmla="*/ 0 h 3189"/>
              <a:gd name="T2" fmla="*/ 118 w 3160"/>
              <a:gd name="T3" fmla="*/ 0 h 3189"/>
              <a:gd name="T4" fmla="*/ 209 w 3160"/>
              <a:gd name="T5" fmla="*/ 747 h 3189"/>
              <a:gd name="T6" fmla="*/ 209 w 3160"/>
              <a:gd name="T7" fmla="*/ 747 h 3189"/>
              <a:gd name="T8" fmla="*/ 2340 w 3160"/>
              <a:gd name="T9" fmla="*/ 853 h 3189"/>
              <a:gd name="T10" fmla="*/ 2340 w 3160"/>
              <a:gd name="T11" fmla="*/ 853 h 3189"/>
              <a:gd name="T12" fmla="*/ 2604 w 3160"/>
              <a:gd name="T13" fmla="*/ 3188 h 3189"/>
              <a:gd name="T14" fmla="*/ 3159 w 3160"/>
              <a:gd name="T15" fmla="*/ 3006 h 3189"/>
              <a:gd name="T16" fmla="*/ 3159 w 3160"/>
              <a:gd name="T17" fmla="*/ 3006 h 3189"/>
              <a:gd name="T18" fmla="*/ 2861 w 3160"/>
              <a:gd name="T19" fmla="*/ 101 h 3189"/>
              <a:gd name="T20" fmla="*/ 118 w 3160"/>
              <a:gd name="T21" fmla="*/ 0 h 3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160" h="3189">
                <a:moveTo>
                  <a:pt x="118" y="0"/>
                </a:moveTo>
                <a:lnTo>
                  <a:pt x="118" y="0"/>
                </a:lnTo>
                <a:cubicBezTo>
                  <a:pt x="0" y="240"/>
                  <a:pt x="13" y="553"/>
                  <a:pt x="209" y="747"/>
                </a:cubicBezTo>
                <a:lnTo>
                  <a:pt x="209" y="747"/>
                </a:lnTo>
                <a:cubicBezTo>
                  <a:pt x="496" y="1029"/>
                  <a:pt x="2340" y="853"/>
                  <a:pt x="2340" y="853"/>
                </a:cubicBezTo>
                <a:lnTo>
                  <a:pt x="2340" y="853"/>
                </a:lnTo>
                <a:cubicBezTo>
                  <a:pt x="2340" y="853"/>
                  <a:pt x="2455" y="2614"/>
                  <a:pt x="2604" y="3188"/>
                </a:cubicBezTo>
                <a:lnTo>
                  <a:pt x="3159" y="3006"/>
                </a:lnTo>
                <a:lnTo>
                  <a:pt x="3159" y="3006"/>
                </a:lnTo>
                <a:cubicBezTo>
                  <a:pt x="3159" y="3006"/>
                  <a:pt x="3068" y="234"/>
                  <a:pt x="2861" y="101"/>
                </a:cubicBezTo>
                <a:lnTo>
                  <a:pt x="118" y="0"/>
                </a:lnTo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de-DE" sz="3266" dirty="0">
              <a:latin typeface="Montserrat Medium" panose="00000600000000000000" pitchFamily="2" charset="0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C12AEA69-6252-3D48-8483-19193DB46CC2}"/>
              </a:ext>
            </a:extLst>
          </p:cNvPr>
          <p:cNvGrpSpPr/>
          <p:nvPr/>
        </p:nvGrpSpPr>
        <p:grpSpPr>
          <a:xfrm>
            <a:off x="9637601" y="1499833"/>
            <a:ext cx="1616321" cy="1392978"/>
            <a:chOff x="17261039" y="3816403"/>
            <a:chExt cx="2814057" cy="2425214"/>
          </a:xfrm>
        </p:grpSpPr>
        <p:sp>
          <p:nvSpPr>
            <p:cNvPr id="41" name="Freeform 38">
              <a:extLst>
                <a:ext uri="{FF2B5EF4-FFF2-40B4-BE49-F238E27FC236}">
                  <a16:creationId xmlns:a16="http://schemas.microsoft.com/office/drawing/2014/main" id="{D03129AD-7B5F-7246-BBAA-07EF3BFD35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986342" y="3853845"/>
              <a:ext cx="1088754" cy="1244291"/>
            </a:xfrm>
            <a:custGeom>
              <a:avLst/>
              <a:gdLst>
                <a:gd name="T0" fmla="*/ 8 w 1666"/>
                <a:gd name="T1" fmla="*/ 1906 h 1907"/>
                <a:gd name="T2" fmla="*/ 8 w 1666"/>
                <a:gd name="T3" fmla="*/ 1906 h 1907"/>
                <a:gd name="T4" fmla="*/ 864 w 1666"/>
                <a:gd name="T5" fmla="*/ 1584 h 1907"/>
                <a:gd name="T6" fmla="*/ 864 w 1666"/>
                <a:gd name="T7" fmla="*/ 1584 h 1907"/>
                <a:gd name="T8" fmla="*/ 1665 w 1666"/>
                <a:gd name="T9" fmla="*/ 0 h 1907"/>
                <a:gd name="T10" fmla="*/ 568 w 1666"/>
                <a:gd name="T11" fmla="*/ 107 h 1907"/>
                <a:gd name="T12" fmla="*/ 568 w 1666"/>
                <a:gd name="T13" fmla="*/ 107 h 1907"/>
                <a:gd name="T14" fmla="*/ 679 w 1666"/>
                <a:gd name="T15" fmla="*/ 428 h 1907"/>
                <a:gd name="T16" fmla="*/ 679 w 1666"/>
                <a:gd name="T17" fmla="*/ 428 h 1907"/>
                <a:gd name="T18" fmla="*/ 796 w 1666"/>
                <a:gd name="T19" fmla="*/ 384 h 1907"/>
                <a:gd name="T20" fmla="*/ 796 w 1666"/>
                <a:gd name="T21" fmla="*/ 384 h 1907"/>
                <a:gd name="T22" fmla="*/ 762 w 1666"/>
                <a:gd name="T23" fmla="*/ 287 h 1907"/>
                <a:gd name="T24" fmla="*/ 762 w 1666"/>
                <a:gd name="T25" fmla="*/ 287 h 1907"/>
                <a:gd name="T26" fmla="*/ 722 w 1666"/>
                <a:gd name="T27" fmla="*/ 255 h 1907"/>
                <a:gd name="T28" fmla="*/ 1471 w 1666"/>
                <a:gd name="T29" fmla="*/ 181 h 1907"/>
                <a:gd name="T30" fmla="*/ 1471 w 1666"/>
                <a:gd name="T31" fmla="*/ 181 h 1907"/>
                <a:gd name="T32" fmla="*/ 1215 w 1666"/>
                <a:gd name="T33" fmla="*/ 895 h 1907"/>
                <a:gd name="T34" fmla="*/ 1215 w 1666"/>
                <a:gd name="T35" fmla="*/ 895 h 1907"/>
                <a:gd name="T36" fmla="*/ 0 w 1666"/>
                <a:gd name="T37" fmla="*/ 1744 h 1907"/>
                <a:gd name="T38" fmla="*/ 8 w 1666"/>
                <a:gd name="T39" fmla="*/ 1906 h 19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66" h="1907">
                  <a:moveTo>
                    <a:pt x="8" y="1906"/>
                  </a:moveTo>
                  <a:lnTo>
                    <a:pt x="8" y="1906"/>
                  </a:lnTo>
                  <a:cubicBezTo>
                    <a:pt x="330" y="1888"/>
                    <a:pt x="619" y="1779"/>
                    <a:pt x="864" y="1584"/>
                  </a:cubicBezTo>
                  <a:lnTo>
                    <a:pt x="864" y="1584"/>
                  </a:lnTo>
                  <a:cubicBezTo>
                    <a:pt x="1323" y="1220"/>
                    <a:pt x="1583" y="589"/>
                    <a:pt x="1665" y="0"/>
                  </a:cubicBezTo>
                  <a:lnTo>
                    <a:pt x="568" y="107"/>
                  </a:lnTo>
                  <a:lnTo>
                    <a:pt x="568" y="107"/>
                  </a:lnTo>
                  <a:cubicBezTo>
                    <a:pt x="517" y="260"/>
                    <a:pt x="565" y="362"/>
                    <a:pt x="679" y="428"/>
                  </a:cubicBezTo>
                  <a:lnTo>
                    <a:pt x="679" y="428"/>
                  </a:lnTo>
                  <a:cubicBezTo>
                    <a:pt x="723" y="453"/>
                    <a:pt x="780" y="432"/>
                    <a:pt x="796" y="384"/>
                  </a:cubicBezTo>
                  <a:lnTo>
                    <a:pt x="796" y="384"/>
                  </a:lnTo>
                  <a:cubicBezTo>
                    <a:pt x="809" y="348"/>
                    <a:pt x="794" y="308"/>
                    <a:pt x="762" y="287"/>
                  </a:cubicBezTo>
                  <a:lnTo>
                    <a:pt x="762" y="287"/>
                  </a:lnTo>
                  <a:cubicBezTo>
                    <a:pt x="742" y="277"/>
                    <a:pt x="730" y="265"/>
                    <a:pt x="722" y="255"/>
                  </a:cubicBezTo>
                  <a:lnTo>
                    <a:pt x="1471" y="181"/>
                  </a:lnTo>
                  <a:lnTo>
                    <a:pt x="1471" y="181"/>
                  </a:lnTo>
                  <a:cubicBezTo>
                    <a:pt x="1440" y="328"/>
                    <a:pt x="1365" y="611"/>
                    <a:pt x="1215" y="895"/>
                  </a:cubicBezTo>
                  <a:lnTo>
                    <a:pt x="1215" y="895"/>
                  </a:lnTo>
                  <a:cubicBezTo>
                    <a:pt x="931" y="1428"/>
                    <a:pt x="522" y="1714"/>
                    <a:pt x="0" y="1744"/>
                  </a:cubicBezTo>
                  <a:lnTo>
                    <a:pt x="8" y="1906"/>
                  </a:lnTo>
                </a:path>
              </a:pathLst>
            </a:custGeom>
            <a:solidFill>
              <a:srgbClr val="FFAA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3266" dirty="0">
                <a:latin typeface="Montserrat Medium" panose="00000600000000000000" pitchFamily="2" charset="0"/>
              </a:endParaRPr>
            </a:p>
          </p:txBody>
        </p:sp>
        <p:sp>
          <p:nvSpPr>
            <p:cNvPr id="42" name="Freeform 39">
              <a:extLst>
                <a:ext uri="{FF2B5EF4-FFF2-40B4-BE49-F238E27FC236}">
                  <a16:creationId xmlns:a16="http://schemas.microsoft.com/office/drawing/2014/main" id="{10AB3CF4-E8DF-E143-89D2-5EB885A97F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261039" y="3816403"/>
              <a:ext cx="1057072" cy="1275973"/>
            </a:xfrm>
            <a:custGeom>
              <a:avLst/>
              <a:gdLst>
                <a:gd name="T0" fmla="*/ 1602 w 1618"/>
                <a:gd name="T1" fmla="*/ 1951 h 1952"/>
                <a:gd name="T2" fmla="*/ 1602 w 1618"/>
                <a:gd name="T3" fmla="*/ 1951 h 1952"/>
                <a:gd name="T4" fmla="*/ 758 w 1618"/>
                <a:gd name="T5" fmla="*/ 1605 h 1952"/>
                <a:gd name="T6" fmla="*/ 758 w 1618"/>
                <a:gd name="T7" fmla="*/ 1605 h 1952"/>
                <a:gd name="T8" fmla="*/ 0 w 1618"/>
                <a:gd name="T9" fmla="*/ 0 h 1952"/>
                <a:gd name="T10" fmla="*/ 1092 w 1618"/>
                <a:gd name="T11" fmla="*/ 138 h 1952"/>
                <a:gd name="T12" fmla="*/ 1092 w 1618"/>
                <a:gd name="T13" fmla="*/ 138 h 1952"/>
                <a:gd name="T14" fmla="*/ 974 w 1618"/>
                <a:gd name="T15" fmla="*/ 454 h 1952"/>
                <a:gd name="T16" fmla="*/ 974 w 1618"/>
                <a:gd name="T17" fmla="*/ 454 h 1952"/>
                <a:gd name="T18" fmla="*/ 857 w 1618"/>
                <a:gd name="T19" fmla="*/ 407 h 1952"/>
                <a:gd name="T20" fmla="*/ 857 w 1618"/>
                <a:gd name="T21" fmla="*/ 407 h 1952"/>
                <a:gd name="T22" fmla="*/ 894 w 1618"/>
                <a:gd name="T23" fmla="*/ 312 h 1952"/>
                <a:gd name="T24" fmla="*/ 894 w 1618"/>
                <a:gd name="T25" fmla="*/ 312 h 1952"/>
                <a:gd name="T26" fmla="*/ 936 w 1618"/>
                <a:gd name="T27" fmla="*/ 280 h 1952"/>
                <a:gd name="T28" fmla="*/ 189 w 1618"/>
                <a:gd name="T29" fmla="*/ 186 h 1952"/>
                <a:gd name="T30" fmla="*/ 189 w 1618"/>
                <a:gd name="T31" fmla="*/ 186 h 1952"/>
                <a:gd name="T32" fmla="*/ 424 w 1618"/>
                <a:gd name="T33" fmla="*/ 905 h 1952"/>
                <a:gd name="T34" fmla="*/ 424 w 1618"/>
                <a:gd name="T35" fmla="*/ 905 h 1952"/>
                <a:gd name="T36" fmla="*/ 1617 w 1618"/>
                <a:gd name="T37" fmla="*/ 1789 h 1952"/>
                <a:gd name="T38" fmla="*/ 1602 w 1618"/>
                <a:gd name="T39" fmla="*/ 1951 h 19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18" h="1952">
                  <a:moveTo>
                    <a:pt x="1602" y="1951"/>
                  </a:moveTo>
                  <a:lnTo>
                    <a:pt x="1602" y="1951"/>
                  </a:lnTo>
                  <a:cubicBezTo>
                    <a:pt x="1282" y="1924"/>
                    <a:pt x="997" y="1807"/>
                    <a:pt x="758" y="1605"/>
                  </a:cubicBezTo>
                  <a:lnTo>
                    <a:pt x="758" y="1605"/>
                  </a:lnTo>
                  <a:cubicBezTo>
                    <a:pt x="308" y="1227"/>
                    <a:pt x="65" y="591"/>
                    <a:pt x="0" y="0"/>
                  </a:cubicBezTo>
                  <a:lnTo>
                    <a:pt x="1092" y="138"/>
                  </a:lnTo>
                  <a:lnTo>
                    <a:pt x="1092" y="138"/>
                  </a:lnTo>
                  <a:cubicBezTo>
                    <a:pt x="1141" y="292"/>
                    <a:pt x="1088" y="393"/>
                    <a:pt x="974" y="454"/>
                  </a:cubicBezTo>
                  <a:lnTo>
                    <a:pt x="974" y="454"/>
                  </a:lnTo>
                  <a:cubicBezTo>
                    <a:pt x="929" y="478"/>
                    <a:pt x="873" y="455"/>
                    <a:pt x="857" y="407"/>
                  </a:cubicBezTo>
                  <a:lnTo>
                    <a:pt x="857" y="407"/>
                  </a:lnTo>
                  <a:cubicBezTo>
                    <a:pt x="846" y="370"/>
                    <a:pt x="862" y="330"/>
                    <a:pt x="894" y="312"/>
                  </a:cubicBezTo>
                  <a:lnTo>
                    <a:pt x="894" y="312"/>
                  </a:lnTo>
                  <a:cubicBezTo>
                    <a:pt x="914" y="302"/>
                    <a:pt x="927" y="290"/>
                    <a:pt x="936" y="280"/>
                  </a:cubicBezTo>
                  <a:lnTo>
                    <a:pt x="189" y="186"/>
                  </a:lnTo>
                  <a:lnTo>
                    <a:pt x="189" y="186"/>
                  </a:lnTo>
                  <a:cubicBezTo>
                    <a:pt x="215" y="333"/>
                    <a:pt x="282" y="618"/>
                    <a:pt x="424" y="905"/>
                  </a:cubicBezTo>
                  <a:lnTo>
                    <a:pt x="424" y="905"/>
                  </a:lnTo>
                  <a:cubicBezTo>
                    <a:pt x="694" y="1447"/>
                    <a:pt x="1095" y="1744"/>
                    <a:pt x="1617" y="1789"/>
                  </a:cubicBezTo>
                  <a:lnTo>
                    <a:pt x="1602" y="1951"/>
                  </a:lnTo>
                </a:path>
              </a:pathLst>
            </a:custGeom>
            <a:solidFill>
              <a:srgbClr val="FFAA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3266" dirty="0">
                <a:latin typeface="Montserrat Medium" panose="00000600000000000000" pitchFamily="2" charset="0"/>
              </a:endParaRPr>
            </a:p>
          </p:txBody>
        </p:sp>
        <p:sp>
          <p:nvSpPr>
            <p:cNvPr id="43" name="Freeform 40">
              <a:extLst>
                <a:ext uri="{FF2B5EF4-FFF2-40B4-BE49-F238E27FC236}">
                  <a16:creationId xmlns:a16="http://schemas.microsoft.com/office/drawing/2014/main" id="{49532E98-5B5F-7F49-99AB-F8E2ED5F2B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18920" y="5201827"/>
              <a:ext cx="429166" cy="1036909"/>
            </a:xfrm>
            <a:custGeom>
              <a:avLst/>
              <a:gdLst>
                <a:gd name="T0" fmla="*/ 0 w 659"/>
                <a:gd name="T1" fmla="*/ 1577 h 1588"/>
                <a:gd name="T2" fmla="*/ 658 w 659"/>
                <a:gd name="T3" fmla="*/ 1587 h 1588"/>
                <a:gd name="T4" fmla="*/ 544 w 659"/>
                <a:gd name="T5" fmla="*/ 4 h 1588"/>
                <a:gd name="T6" fmla="*/ 156 w 659"/>
                <a:gd name="T7" fmla="*/ 0 h 1588"/>
                <a:gd name="T8" fmla="*/ 1 w 659"/>
                <a:gd name="T9" fmla="*/ 1575 h 1588"/>
                <a:gd name="T10" fmla="*/ 0 w 659"/>
                <a:gd name="T11" fmla="*/ 1577 h 1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9" h="1588">
                  <a:moveTo>
                    <a:pt x="0" y="1577"/>
                  </a:moveTo>
                  <a:lnTo>
                    <a:pt x="658" y="1587"/>
                  </a:lnTo>
                  <a:lnTo>
                    <a:pt x="544" y="4"/>
                  </a:lnTo>
                  <a:lnTo>
                    <a:pt x="156" y="0"/>
                  </a:lnTo>
                  <a:lnTo>
                    <a:pt x="1" y="1575"/>
                  </a:lnTo>
                  <a:lnTo>
                    <a:pt x="0" y="1577"/>
                  </a:lnTo>
                </a:path>
              </a:pathLst>
            </a:custGeom>
            <a:solidFill>
              <a:srgbClr val="FCC20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3266" dirty="0">
                <a:latin typeface="Montserrat Medium" panose="00000600000000000000" pitchFamily="2" charset="0"/>
              </a:endParaRPr>
            </a:p>
          </p:txBody>
        </p:sp>
        <p:sp>
          <p:nvSpPr>
            <p:cNvPr id="44" name="Freeform 41">
              <a:extLst>
                <a:ext uri="{FF2B5EF4-FFF2-40B4-BE49-F238E27FC236}">
                  <a16:creationId xmlns:a16="http://schemas.microsoft.com/office/drawing/2014/main" id="{7D7EC921-4776-C144-8C6D-BF7714E073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18920" y="5201828"/>
              <a:ext cx="230424" cy="1031148"/>
            </a:xfrm>
            <a:custGeom>
              <a:avLst/>
              <a:gdLst>
                <a:gd name="T0" fmla="*/ 0 w 354"/>
                <a:gd name="T1" fmla="*/ 1575 h 1580"/>
                <a:gd name="T2" fmla="*/ 332 w 354"/>
                <a:gd name="T3" fmla="*/ 1579 h 1580"/>
                <a:gd name="T4" fmla="*/ 353 w 354"/>
                <a:gd name="T5" fmla="*/ 1 h 1580"/>
                <a:gd name="T6" fmla="*/ 156 w 354"/>
                <a:gd name="T7" fmla="*/ 0 h 1580"/>
                <a:gd name="T8" fmla="*/ 0 w 354"/>
                <a:gd name="T9" fmla="*/ 1575 h 1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4" h="1580">
                  <a:moveTo>
                    <a:pt x="0" y="1575"/>
                  </a:moveTo>
                  <a:lnTo>
                    <a:pt x="332" y="1579"/>
                  </a:lnTo>
                  <a:lnTo>
                    <a:pt x="353" y="1"/>
                  </a:lnTo>
                  <a:lnTo>
                    <a:pt x="156" y="0"/>
                  </a:lnTo>
                  <a:lnTo>
                    <a:pt x="0" y="1575"/>
                  </a:lnTo>
                </a:path>
              </a:pathLst>
            </a:custGeom>
            <a:solidFill>
              <a:srgbClr val="FF97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3266" dirty="0">
                <a:latin typeface="Montserrat Medium" panose="00000600000000000000" pitchFamily="2" charset="0"/>
              </a:endParaRPr>
            </a:p>
          </p:txBody>
        </p:sp>
        <p:sp>
          <p:nvSpPr>
            <p:cNvPr id="45" name="Freeform 42">
              <a:extLst>
                <a:ext uri="{FF2B5EF4-FFF2-40B4-BE49-F238E27FC236}">
                  <a16:creationId xmlns:a16="http://schemas.microsoft.com/office/drawing/2014/main" id="{50A9FA37-2D78-7941-B61E-B1536884CC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280667" y="6103362"/>
              <a:ext cx="708554" cy="138255"/>
            </a:xfrm>
            <a:custGeom>
              <a:avLst/>
              <a:gdLst>
                <a:gd name="T0" fmla="*/ 97 w 1085"/>
                <a:gd name="T1" fmla="*/ 197 h 210"/>
                <a:gd name="T2" fmla="*/ 986 w 1085"/>
                <a:gd name="T3" fmla="*/ 208 h 210"/>
                <a:gd name="T4" fmla="*/ 986 w 1085"/>
                <a:gd name="T5" fmla="*/ 208 h 210"/>
                <a:gd name="T6" fmla="*/ 1084 w 1085"/>
                <a:gd name="T7" fmla="*/ 112 h 210"/>
                <a:gd name="T8" fmla="*/ 1084 w 1085"/>
                <a:gd name="T9" fmla="*/ 14 h 210"/>
                <a:gd name="T10" fmla="*/ 3 w 1085"/>
                <a:gd name="T11" fmla="*/ 0 h 210"/>
                <a:gd name="T12" fmla="*/ 1 w 1085"/>
                <a:gd name="T13" fmla="*/ 98 h 210"/>
                <a:gd name="T14" fmla="*/ 1 w 1085"/>
                <a:gd name="T15" fmla="*/ 98 h 210"/>
                <a:gd name="T16" fmla="*/ 97 w 1085"/>
                <a:gd name="T17" fmla="*/ 197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5" h="210">
                  <a:moveTo>
                    <a:pt x="97" y="197"/>
                  </a:moveTo>
                  <a:lnTo>
                    <a:pt x="986" y="208"/>
                  </a:lnTo>
                  <a:lnTo>
                    <a:pt x="986" y="208"/>
                  </a:lnTo>
                  <a:cubicBezTo>
                    <a:pt x="1040" y="209"/>
                    <a:pt x="1082" y="167"/>
                    <a:pt x="1084" y="112"/>
                  </a:cubicBezTo>
                  <a:lnTo>
                    <a:pt x="1084" y="14"/>
                  </a:lnTo>
                  <a:lnTo>
                    <a:pt x="3" y="0"/>
                  </a:lnTo>
                  <a:lnTo>
                    <a:pt x="1" y="98"/>
                  </a:lnTo>
                  <a:lnTo>
                    <a:pt x="1" y="98"/>
                  </a:lnTo>
                  <a:cubicBezTo>
                    <a:pt x="0" y="151"/>
                    <a:pt x="43" y="195"/>
                    <a:pt x="97" y="197"/>
                  </a:cubicBezTo>
                </a:path>
              </a:pathLst>
            </a:custGeom>
            <a:solidFill>
              <a:srgbClr val="F9A30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3266" dirty="0">
                <a:latin typeface="Montserrat Medium" panose="00000600000000000000" pitchFamily="2" charset="0"/>
              </a:endParaRPr>
            </a:p>
          </p:txBody>
        </p:sp>
        <p:sp>
          <p:nvSpPr>
            <p:cNvPr id="46" name="Freeform 43">
              <a:extLst>
                <a:ext uri="{FF2B5EF4-FFF2-40B4-BE49-F238E27FC236}">
                  <a16:creationId xmlns:a16="http://schemas.microsoft.com/office/drawing/2014/main" id="{0AA23644-E04E-CB48-95D4-0DA8D0248B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280665" y="5979510"/>
              <a:ext cx="705675" cy="132494"/>
            </a:xfrm>
            <a:custGeom>
              <a:avLst/>
              <a:gdLst>
                <a:gd name="T0" fmla="*/ 0 w 1082"/>
                <a:gd name="T1" fmla="*/ 189 h 204"/>
                <a:gd name="T2" fmla="*/ 1081 w 1082"/>
                <a:gd name="T3" fmla="*/ 203 h 204"/>
                <a:gd name="T4" fmla="*/ 829 w 1082"/>
                <a:gd name="T5" fmla="*/ 8 h 204"/>
                <a:gd name="T6" fmla="*/ 238 w 1082"/>
                <a:gd name="T7" fmla="*/ 0 h 204"/>
                <a:gd name="T8" fmla="*/ 0 w 1082"/>
                <a:gd name="T9" fmla="*/ 189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2" h="204">
                  <a:moveTo>
                    <a:pt x="0" y="189"/>
                  </a:moveTo>
                  <a:lnTo>
                    <a:pt x="1081" y="203"/>
                  </a:lnTo>
                  <a:lnTo>
                    <a:pt x="829" y="8"/>
                  </a:lnTo>
                  <a:lnTo>
                    <a:pt x="238" y="0"/>
                  </a:lnTo>
                  <a:lnTo>
                    <a:pt x="0" y="189"/>
                  </a:lnTo>
                </a:path>
              </a:pathLst>
            </a:custGeom>
            <a:solidFill>
              <a:srgbClr val="F5E21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3266" dirty="0">
                <a:latin typeface="Montserrat Medium" panose="00000600000000000000" pitchFamily="2" charset="0"/>
              </a:endParaRPr>
            </a:p>
          </p:txBody>
        </p:sp>
        <p:sp>
          <p:nvSpPr>
            <p:cNvPr id="47" name="Freeform 44">
              <a:extLst>
                <a:ext uri="{FF2B5EF4-FFF2-40B4-BE49-F238E27FC236}">
                  <a16:creationId xmlns:a16="http://schemas.microsoft.com/office/drawing/2014/main" id="{A5B544A6-3114-BD40-8B4D-C4451C421A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06226" y="3819282"/>
              <a:ext cx="1520800" cy="288030"/>
            </a:xfrm>
            <a:custGeom>
              <a:avLst/>
              <a:gdLst>
                <a:gd name="T0" fmla="*/ 6 w 2327"/>
                <a:gd name="T1" fmla="*/ 0 h 443"/>
                <a:gd name="T2" fmla="*/ 2326 w 2327"/>
                <a:gd name="T3" fmla="*/ 32 h 443"/>
                <a:gd name="T4" fmla="*/ 2320 w 2327"/>
                <a:gd name="T5" fmla="*/ 442 h 443"/>
                <a:gd name="T6" fmla="*/ 0 w 2327"/>
                <a:gd name="T7" fmla="*/ 411 h 443"/>
                <a:gd name="T8" fmla="*/ 6 w 2327"/>
                <a:gd name="T9" fmla="*/ 0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27" h="443">
                  <a:moveTo>
                    <a:pt x="6" y="0"/>
                  </a:moveTo>
                  <a:lnTo>
                    <a:pt x="2326" y="32"/>
                  </a:lnTo>
                  <a:lnTo>
                    <a:pt x="2320" y="442"/>
                  </a:lnTo>
                  <a:lnTo>
                    <a:pt x="0" y="411"/>
                  </a:lnTo>
                  <a:lnTo>
                    <a:pt x="6" y="0"/>
                  </a:lnTo>
                </a:path>
              </a:pathLst>
            </a:custGeom>
            <a:solidFill>
              <a:srgbClr val="FFC2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3266" dirty="0">
                <a:latin typeface="Montserrat Medium" panose="00000600000000000000" pitchFamily="2" charset="0"/>
              </a:endParaRPr>
            </a:p>
          </p:txBody>
        </p:sp>
        <p:sp>
          <p:nvSpPr>
            <p:cNvPr id="48" name="Freeform 45">
              <a:extLst>
                <a:ext uri="{FF2B5EF4-FFF2-40B4-BE49-F238E27FC236}">
                  <a16:creationId xmlns:a16="http://schemas.microsoft.com/office/drawing/2014/main" id="{D0FB48BD-37C3-D64C-B78C-E90751257D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78147" y="4098672"/>
              <a:ext cx="740239" cy="1080112"/>
            </a:xfrm>
            <a:custGeom>
              <a:avLst/>
              <a:gdLst>
                <a:gd name="T0" fmla="*/ 25 w 1135"/>
                <a:gd name="T1" fmla="*/ 0 h 1654"/>
                <a:gd name="T2" fmla="*/ 0 w 1135"/>
                <a:gd name="T3" fmla="*/ 1648 h 1654"/>
                <a:gd name="T4" fmla="*/ 351 w 1135"/>
                <a:gd name="T5" fmla="*/ 1653 h 1654"/>
                <a:gd name="T6" fmla="*/ 351 w 1135"/>
                <a:gd name="T7" fmla="*/ 1653 h 1654"/>
                <a:gd name="T8" fmla="*/ 1134 w 1135"/>
                <a:gd name="T9" fmla="*/ 14 h 1654"/>
                <a:gd name="T10" fmla="*/ 25 w 1135"/>
                <a:gd name="T11" fmla="*/ 0 h 1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35" h="1654">
                  <a:moveTo>
                    <a:pt x="25" y="0"/>
                  </a:moveTo>
                  <a:lnTo>
                    <a:pt x="0" y="1648"/>
                  </a:lnTo>
                  <a:lnTo>
                    <a:pt x="351" y="1653"/>
                  </a:lnTo>
                  <a:lnTo>
                    <a:pt x="351" y="1653"/>
                  </a:lnTo>
                  <a:cubicBezTo>
                    <a:pt x="774" y="1408"/>
                    <a:pt x="1090" y="776"/>
                    <a:pt x="1134" y="14"/>
                  </a:cubicBezTo>
                  <a:lnTo>
                    <a:pt x="25" y="0"/>
                  </a:lnTo>
                </a:path>
              </a:pathLst>
            </a:custGeom>
            <a:solidFill>
              <a:srgbClr val="FFC7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3266" dirty="0">
                <a:latin typeface="Montserrat Medium" panose="00000600000000000000" pitchFamily="2" charset="0"/>
              </a:endParaRPr>
            </a:p>
          </p:txBody>
        </p:sp>
        <p:sp>
          <p:nvSpPr>
            <p:cNvPr id="49" name="Freeform 46">
              <a:extLst>
                <a:ext uri="{FF2B5EF4-FFF2-40B4-BE49-F238E27FC236}">
                  <a16:creationId xmlns:a16="http://schemas.microsoft.com/office/drawing/2014/main" id="{C6306DF0-658F-8C4A-960B-E26D068EE7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06227" y="4087152"/>
              <a:ext cx="792084" cy="1088754"/>
            </a:xfrm>
            <a:custGeom>
              <a:avLst/>
              <a:gdLst>
                <a:gd name="T0" fmla="*/ 0 w 1212"/>
                <a:gd name="T1" fmla="*/ 0 h 1666"/>
                <a:gd name="T2" fmla="*/ 0 w 1212"/>
                <a:gd name="T3" fmla="*/ 0 h 1666"/>
                <a:gd name="T4" fmla="*/ 738 w 1212"/>
                <a:gd name="T5" fmla="*/ 1659 h 1666"/>
                <a:gd name="T6" fmla="*/ 1186 w 1212"/>
                <a:gd name="T7" fmla="*/ 1665 h 1666"/>
                <a:gd name="T8" fmla="*/ 1211 w 1212"/>
                <a:gd name="T9" fmla="*/ 17 h 1666"/>
                <a:gd name="T10" fmla="*/ 0 w 1212"/>
                <a:gd name="T11" fmla="*/ 0 h 1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2" h="1666">
                  <a:moveTo>
                    <a:pt x="0" y="0"/>
                  </a:moveTo>
                  <a:lnTo>
                    <a:pt x="0" y="0"/>
                  </a:lnTo>
                  <a:cubicBezTo>
                    <a:pt x="23" y="762"/>
                    <a:pt x="322" y="1402"/>
                    <a:pt x="738" y="1659"/>
                  </a:cubicBezTo>
                  <a:lnTo>
                    <a:pt x="1186" y="1665"/>
                  </a:lnTo>
                  <a:lnTo>
                    <a:pt x="1211" y="17"/>
                  </a:lnTo>
                  <a:lnTo>
                    <a:pt x="0" y="0"/>
                  </a:lnTo>
                </a:path>
              </a:pathLst>
            </a:custGeom>
            <a:solidFill>
              <a:srgbClr val="FFAA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3266" dirty="0">
                <a:latin typeface="Montserrat Medium" panose="00000600000000000000" pitchFamily="2" charset="0"/>
              </a:endParaRPr>
            </a:p>
          </p:txBody>
        </p:sp>
        <p:sp>
          <p:nvSpPr>
            <p:cNvPr id="50" name="Freeform 47">
              <a:extLst>
                <a:ext uri="{FF2B5EF4-FFF2-40B4-BE49-F238E27FC236}">
                  <a16:creationId xmlns:a16="http://schemas.microsoft.com/office/drawing/2014/main" id="{E8244A02-E005-6B42-B9EC-954B7610C1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087150" y="4254209"/>
              <a:ext cx="129615" cy="132494"/>
            </a:xfrm>
            <a:custGeom>
              <a:avLst/>
              <a:gdLst>
                <a:gd name="T0" fmla="*/ 0 w 200"/>
                <a:gd name="T1" fmla="*/ 99 h 201"/>
                <a:gd name="T2" fmla="*/ 0 w 200"/>
                <a:gd name="T3" fmla="*/ 99 h 201"/>
                <a:gd name="T4" fmla="*/ 98 w 200"/>
                <a:gd name="T5" fmla="*/ 198 h 201"/>
                <a:gd name="T6" fmla="*/ 98 w 200"/>
                <a:gd name="T7" fmla="*/ 198 h 201"/>
                <a:gd name="T8" fmla="*/ 198 w 200"/>
                <a:gd name="T9" fmla="*/ 102 h 201"/>
                <a:gd name="T10" fmla="*/ 198 w 200"/>
                <a:gd name="T11" fmla="*/ 102 h 201"/>
                <a:gd name="T12" fmla="*/ 101 w 200"/>
                <a:gd name="T13" fmla="*/ 0 h 201"/>
                <a:gd name="T14" fmla="*/ 101 w 200"/>
                <a:gd name="T15" fmla="*/ 0 h 201"/>
                <a:gd name="T16" fmla="*/ 0 w 200"/>
                <a:gd name="T17" fmla="*/ 99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0" h="201">
                  <a:moveTo>
                    <a:pt x="0" y="99"/>
                  </a:moveTo>
                  <a:lnTo>
                    <a:pt x="0" y="99"/>
                  </a:lnTo>
                  <a:cubicBezTo>
                    <a:pt x="0" y="154"/>
                    <a:pt x="44" y="198"/>
                    <a:pt x="98" y="198"/>
                  </a:cubicBezTo>
                  <a:lnTo>
                    <a:pt x="98" y="198"/>
                  </a:lnTo>
                  <a:cubicBezTo>
                    <a:pt x="154" y="200"/>
                    <a:pt x="198" y="157"/>
                    <a:pt x="198" y="102"/>
                  </a:cubicBezTo>
                  <a:lnTo>
                    <a:pt x="198" y="102"/>
                  </a:lnTo>
                  <a:cubicBezTo>
                    <a:pt x="199" y="47"/>
                    <a:pt x="155" y="2"/>
                    <a:pt x="101" y="0"/>
                  </a:cubicBezTo>
                  <a:lnTo>
                    <a:pt x="101" y="0"/>
                  </a:lnTo>
                  <a:cubicBezTo>
                    <a:pt x="45" y="0"/>
                    <a:pt x="1" y="45"/>
                    <a:pt x="0" y="9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3266" dirty="0">
                <a:latin typeface="Montserrat Medium" panose="00000600000000000000" pitchFamily="2" charset="0"/>
              </a:endParaRPr>
            </a:p>
          </p:txBody>
        </p:sp>
        <p:sp>
          <p:nvSpPr>
            <p:cNvPr id="51" name="Freeform 48">
              <a:extLst>
                <a:ext uri="{FF2B5EF4-FFF2-40B4-BE49-F238E27FC236}">
                  <a16:creationId xmlns:a16="http://schemas.microsoft.com/office/drawing/2014/main" id="{F54E0A26-0395-6440-942A-A966C9F731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269145" y="5170145"/>
              <a:ext cx="754639" cy="198740"/>
            </a:xfrm>
            <a:custGeom>
              <a:avLst/>
              <a:gdLst>
                <a:gd name="T0" fmla="*/ 1 w 1157"/>
                <a:gd name="T1" fmla="*/ 187 h 305"/>
                <a:gd name="T2" fmla="*/ 1 w 1157"/>
                <a:gd name="T3" fmla="*/ 187 h 305"/>
                <a:gd name="T4" fmla="*/ 101 w 1157"/>
                <a:gd name="T5" fmla="*/ 290 h 305"/>
                <a:gd name="T6" fmla="*/ 1051 w 1157"/>
                <a:gd name="T7" fmla="*/ 304 h 305"/>
                <a:gd name="T8" fmla="*/ 1051 w 1157"/>
                <a:gd name="T9" fmla="*/ 304 h 305"/>
                <a:gd name="T10" fmla="*/ 1155 w 1157"/>
                <a:gd name="T11" fmla="*/ 203 h 305"/>
                <a:gd name="T12" fmla="*/ 1156 w 1157"/>
                <a:gd name="T13" fmla="*/ 117 h 305"/>
                <a:gd name="T14" fmla="*/ 1156 w 1157"/>
                <a:gd name="T15" fmla="*/ 117 h 305"/>
                <a:gd name="T16" fmla="*/ 1055 w 1157"/>
                <a:gd name="T17" fmla="*/ 15 h 305"/>
                <a:gd name="T18" fmla="*/ 105 w 1157"/>
                <a:gd name="T19" fmla="*/ 2 h 305"/>
                <a:gd name="T20" fmla="*/ 105 w 1157"/>
                <a:gd name="T21" fmla="*/ 2 h 305"/>
                <a:gd name="T22" fmla="*/ 1 w 1157"/>
                <a:gd name="T23" fmla="*/ 102 h 305"/>
                <a:gd name="T24" fmla="*/ 1 w 1157"/>
                <a:gd name="T25" fmla="*/ 187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57" h="305">
                  <a:moveTo>
                    <a:pt x="1" y="187"/>
                  </a:moveTo>
                  <a:lnTo>
                    <a:pt x="1" y="187"/>
                  </a:lnTo>
                  <a:cubicBezTo>
                    <a:pt x="0" y="244"/>
                    <a:pt x="45" y="290"/>
                    <a:pt x="101" y="290"/>
                  </a:cubicBezTo>
                  <a:lnTo>
                    <a:pt x="1051" y="304"/>
                  </a:lnTo>
                  <a:lnTo>
                    <a:pt x="1051" y="304"/>
                  </a:lnTo>
                  <a:cubicBezTo>
                    <a:pt x="1108" y="304"/>
                    <a:pt x="1154" y="260"/>
                    <a:pt x="1155" y="203"/>
                  </a:cubicBezTo>
                  <a:lnTo>
                    <a:pt x="1156" y="117"/>
                  </a:lnTo>
                  <a:lnTo>
                    <a:pt x="1156" y="117"/>
                  </a:lnTo>
                  <a:cubicBezTo>
                    <a:pt x="1156" y="62"/>
                    <a:pt x="1111" y="15"/>
                    <a:pt x="1055" y="15"/>
                  </a:cubicBezTo>
                  <a:lnTo>
                    <a:pt x="105" y="2"/>
                  </a:lnTo>
                  <a:lnTo>
                    <a:pt x="105" y="2"/>
                  </a:lnTo>
                  <a:cubicBezTo>
                    <a:pt x="48" y="0"/>
                    <a:pt x="3" y="46"/>
                    <a:pt x="1" y="102"/>
                  </a:cubicBezTo>
                  <a:lnTo>
                    <a:pt x="1" y="187"/>
                  </a:lnTo>
                </a:path>
              </a:pathLst>
            </a:custGeom>
            <a:solidFill>
              <a:srgbClr val="FFC2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3266" dirty="0">
                <a:latin typeface="Montserrat Medium" panose="00000600000000000000" pitchFamily="2" charset="0"/>
              </a:endParaRPr>
            </a:p>
          </p:txBody>
        </p:sp>
      </p:grpSp>
      <p:sp>
        <p:nvSpPr>
          <p:cNvPr id="52" name="Freeform 49">
            <a:extLst>
              <a:ext uri="{FF2B5EF4-FFF2-40B4-BE49-F238E27FC236}">
                <a16:creationId xmlns:a16="http://schemas.microsoft.com/office/drawing/2014/main" id="{DA399B21-4B1B-4B46-980A-EF636D712A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72249" y="1857177"/>
            <a:ext cx="583994" cy="577374"/>
          </a:xfrm>
          <a:custGeom>
            <a:avLst/>
            <a:gdLst>
              <a:gd name="T0" fmla="*/ 1555 w 1556"/>
              <a:gd name="T1" fmla="*/ 768 h 1538"/>
              <a:gd name="T2" fmla="*/ 765 w 1556"/>
              <a:gd name="T3" fmla="*/ 1537 h 1538"/>
              <a:gd name="T4" fmla="*/ 651 w 1556"/>
              <a:gd name="T5" fmla="*/ 1419 h 1538"/>
              <a:gd name="T6" fmla="*/ 987 w 1556"/>
              <a:gd name="T7" fmla="*/ 1093 h 1538"/>
              <a:gd name="T8" fmla="*/ 0 w 1556"/>
              <a:gd name="T9" fmla="*/ 1093 h 1538"/>
              <a:gd name="T10" fmla="*/ 0 w 1556"/>
              <a:gd name="T11" fmla="*/ 445 h 1538"/>
              <a:gd name="T12" fmla="*/ 987 w 1556"/>
              <a:gd name="T13" fmla="*/ 445 h 1538"/>
              <a:gd name="T14" fmla="*/ 651 w 1556"/>
              <a:gd name="T15" fmla="*/ 117 h 1538"/>
              <a:gd name="T16" fmla="*/ 765 w 1556"/>
              <a:gd name="T17" fmla="*/ 0 h 1538"/>
              <a:gd name="T18" fmla="*/ 1555 w 1556"/>
              <a:gd name="T19" fmla="*/ 768 h 15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56" h="1538">
                <a:moveTo>
                  <a:pt x="1555" y="768"/>
                </a:moveTo>
                <a:lnTo>
                  <a:pt x="765" y="1537"/>
                </a:lnTo>
                <a:lnTo>
                  <a:pt x="651" y="1419"/>
                </a:lnTo>
                <a:lnTo>
                  <a:pt x="987" y="1093"/>
                </a:lnTo>
                <a:lnTo>
                  <a:pt x="0" y="1093"/>
                </a:lnTo>
                <a:lnTo>
                  <a:pt x="0" y="445"/>
                </a:lnTo>
                <a:lnTo>
                  <a:pt x="987" y="445"/>
                </a:lnTo>
                <a:lnTo>
                  <a:pt x="651" y="117"/>
                </a:lnTo>
                <a:lnTo>
                  <a:pt x="765" y="0"/>
                </a:lnTo>
                <a:lnTo>
                  <a:pt x="1555" y="768"/>
                </a:ln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3266" dirty="0">
              <a:latin typeface="Montserrat Medium" panose="00000600000000000000" pitchFamily="2" charset="0"/>
            </a:endParaRPr>
          </a:p>
        </p:txBody>
      </p:sp>
      <p:sp>
        <p:nvSpPr>
          <p:cNvPr id="53" name="Freeform 50">
            <a:extLst>
              <a:ext uri="{FF2B5EF4-FFF2-40B4-BE49-F238E27FC236}">
                <a16:creationId xmlns:a16="http://schemas.microsoft.com/office/drawing/2014/main" id="{378C376F-D1DD-8447-B95D-CA9C82A019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21941" y="1857177"/>
            <a:ext cx="583994" cy="577374"/>
          </a:xfrm>
          <a:custGeom>
            <a:avLst/>
            <a:gdLst>
              <a:gd name="T0" fmla="*/ 1554 w 1555"/>
              <a:gd name="T1" fmla="*/ 768 h 1538"/>
              <a:gd name="T2" fmla="*/ 765 w 1555"/>
              <a:gd name="T3" fmla="*/ 1537 h 1538"/>
              <a:gd name="T4" fmla="*/ 650 w 1555"/>
              <a:gd name="T5" fmla="*/ 1419 h 1538"/>
              <a:gd name="T6" fmla="*/ 986 w 1555"/>
              <a:gd name="T7" fmla="*/ 1093 h 1538"/>
              <a:gd name="T8" fmla="*/ 0 w 1555"/>
              <a:gd name="T9" fmla="*/ 1093 h 1538"/>
              <a:gd name="T10" fmla="*/ 0 w 1555"/>
              <a:gd name="T11" fmla="*/ 445 h 1538"/>
              <a:gd name="T12" fmla="*/ 986 w 1555"/>
              <a:gd name="T13" fmla="*/ 445 h 1538"/>
              <a:gd name="T14" fmla="*/ 650 w 1555"/>
              <a:gd name="T15" fmla="*/ 117 h 1538"/>
              <a:gd name="T16" fmla="*/ 765 w 1555"/>
              <a:gd name="T17" fmla="*/ 0 h 1538"/>
              <a:gd name="T18" fmla="*/ 1554 w 1555"/>
              <a:gd name="T19" fmla="*/ 768 h 15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55" h="1538">
                <a:moveTo>
                  <a:pt x="1554" y="768"/>
                </a:moveTo>
                <a:lnTo>
                  <a:pt x="765" y="1537"/>
                </a:lnTo>
                <a:lnTo>
                  <a:pt x="650" y="1419"/>
                </a:lnTo>
                <a:lnTo>
                  <a:pt x="986" y="1093"/>
                </a:lnTo>
                <a:lnTo>
                  <a:pt x="0" y="1093"/>
                </a:lnTo>
                <a:lnTo>
                  <a:pt x="0" y="445"/>
                </a:lnTo>
                <a:lnTo>
                  <a:pt x="986" y="445"/>
                </a:lnTo>
                <a:lnTo>
                  <a:pt x="650" y="117"/>
                </a:lnTo>
                <a:lnTo>
                  <a:pt x="765" y="0"/>
                </a:lnTo>
                <a:lnTo>
                  <a:pt x="1554" y="768"/>
                </a:lnTo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3266" dirty="0">
              <a:latin typeface="Montserrat Medium" panose="00000600000000000000" pitchFamily="2" charset="0"/>
            </a:endParaRPr>
          </a:p>
        </p:txBody>
      </p:sp>
      <p:sp>
        <p:nvSpPr>
          <p:cNvPr id="54" name="Freeform 51">
            <a:extLst>
              <a:ext uri="{FF2B5EF4-FFF2-40B4-BE49-F238E27FC236}">
                <a16:creationId xmlns:a16="http://schemas.microsoft.com/office/drawing/2014/main" id="{EC4864AB-855C-EA45-8746-FCF8A8E04E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22558" y="1857177"/>
            <a:ext cx="583994" cy="577374"/>
          </a:xfrm>
          <a:custGeom>
            <a:avLst/>
            <a:gdLst>
              <a:gd name="T0" fmla="*/ 1555 w 1556"/>
              <a:gd name="T1" fmla="*/ 768 h 1538"/>
              <a:gd name="T2" fmla="*/ 765 w 1556"/>
              <a:gd name="T3" fmla="*/ 1537 h 1538"/>
              <a:gd name="T4" fmla="*/ 651 w 1556"/>
              <a:gd name="T5" fmla="*/ 1419 h 1538"/>
              <a:gd name="T6" fmla="*/ 987 w 1556"/>
              <a:gd name="T7" fmla="*/ 1093 h 1538"/>
              <a:gd name="T8" fmla="*/ 0 w 1556"/>
              <a:gd name="T9" fmla="*/ 1093 h 1538"/>
              <a:gd name="T10" fmla="*/ 0 w 1556"/>
              <a:gd name="T11" fmla="*/ 445 h 1538"/>
              <a:gd name="T12" fmla="*/ 987 w 1556"/>
              <a:gd name="T13" fmla="*/ 445 h 1538"/>
              <a:gd name="T14" fmla="*/ 651 w 1556"/>
              <a:gd name="T15" fmla="*/ 117 h 1538"/>
              <a:gd name="T16" fmla="*/ 765 w 1556"/>
              <a:gd name="T17" fmla="*/ 0 h 1538"/>
              <a:gd name="T18" fmla="*/ 1555 w 1556"/>
              <a:gd name="T19" fmla="*/ 768 h 15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56" h="1538">
                <a:moveTo>
                  <a:pt x="1555" y="768"/>
                </a:moveTo>
                <a:lnTo>
                  <a:pt x="765" y="1537"/>
                </a:lnTo>
                <a:lnTo>
                  <a:pt x="651" y="1419"/>
                </a:lnTo>
                <a:lnTo>
                  <a:pt x="987" y="1093"/>
                </a:lnTo>
                <a:lnTo>
                  <a:pt x="0" y="1093"/>
                </a:lnTo>
                <a:lnTo>
                  <a:pt x="0" y="445"/>
                </a:lnTo>
                <a:lnTo>
                  <a:pt x="987" y="445"/>
                </a:lnTo>
                <a:lnTo>
                  <a:pt x="651" y="117"/>
                </a:lnTo>
                <a:lnTo>
                  <a:pt x="765" y="0"/>
                </a:lnTo>
                <a:lnTo>
                  <a:pt x="1555" y="768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3266" dirty="0">
              <a:latin typeface="Montserrat Medium" panose="00000600000000000000" pitchFamily="2" charset="0"/>
            </a:endParaRPr>
          </a:p>
        </p:txBody>
      </p:sp>
      <p:sp>
        <p:nvSpPr>
          <p:cNvPr id="55" name="Freeform 52">
            <a:extLst>
              <a:ext uri="{FF2B5EF4-FFF2-40B4-BE49-F238E27FC236}">
                <a16:creationId xmlns:a16="http://schemas.microsoft.com/office/drawing/2014/main" id="{B9493188-1D98-7F4A-864A-031197E9A7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2234" y="1857177"/>
            <a:ext cx="583994" cy="577374"/>
          </a:xfrm>
          <a:custGeom>
            <a:avLst/>
            <a:gdLst>
              <a:gd name="T0" fmla="*/ 1554 w 1555"/>
              <a:gd name="T1" fmla="*/ 768 h 1538"/>
              <a:gd name="T2" fmla="*/ 765 w 1555"/>
              <a:gd name="T3" fmla="*/ 1537 h 1538"/>
              <a:gd name="T4" fmla="*/ 650 w 1555"/>
              <a:gd name="T5" fmla="*/ 1419 h 1538"/>
              <a:gd name="T6" fmla="*/ 986 w 1555"/>
              <a:gd name="T7" fmla="*/ 1093 h 1538"/>
              <a:gd name="T8" fmla="*/ 0 w 1555"/>
              <a:gd name="T9" fmla="*/ 1093 h 1538"/>
              <a:gd name="T10" fmla="*/ 0 w 1555"/>
              <a:gd name="T11" fmla="*/ 445 h 1538"/>
              <a:gd name="T12" fmla="*/ 986 w 1555"/>
              <a:gd name="T13" fmla="*/ 445 h 1538"/>
              <a:gd name="T14" fmla="*/ 650 w 1555"/>
              <a:gd name="T15" fmla="*/ 117 h 1538"/>
              <a:gd name="T16" fmla="*/ 765 w 1555"/>
              <a:gd name="T17" fmla="*/ 0 h 1538"/>
              <a:gd name="T18" fmla="*/ 1554 w 1555"/>
              <a:gd name="T19" fmla="*/ 768 h 15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55" h="1538">
                <a:moveTo>
                  <a:pt x="1554" y="768"/>
                </a:moveTo>
                <a:lnTo>
                  <a:pt x="765" y="1537"/>
                </a:lnTo>
                <a:lnTo>
                  <a:pt x="650" y="1419"/>
                </a:lnTo>
                <a:lnTo>
                  <a:pt x="986" y="1093"/>
                </a:lnTo>
                <a:lnTo>
                  <a:pt x="0" y="1093"/>
                </a:lnTo>
                <a:lnTo>
                  <a:pt x="0" y="445"/>
                </a:lnTo>
                <a:lnTo>
                  <a:pt x="986" y="445"/>
                </a:lnTo>
                <a:lnTo>
                  <a:pt x="650" y="117"/>
                </a:lnTo>
                <a:lnTo>
                  <a:pt x="765" y="0"/>
                </a:lnTo>
                <a:lnTo>
                  <a:pt x="1554" y="768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3266" dirty="0">
              <a:latin typeface="Montserrat Medium" panose="00000600000000000000" pitchFamily="2" charset="0"/>
            </a:endParaRPr>
          </a:p>
        </p:txBody>
      </p:sp>
      <p:sp>
        <p:nvSpPr>
          <p:cNvPr id="59" name="L-Shape 58">
            <a:extLst>
              <a:ext uri="{FF2B5EF4-FFF2-40B4-BE49-F238E27FC236}">
                <a16:creationId xmlns:a16="http://schemas.microsoft.com/office/drawing/2014/main" id="{58F6CC99-B67E-9A4A-AB59-F68DCD41304E}"/>
              </a:ext>
            </a:extLst>
          </p:cNvPr>
          <p:cNvSpPr/>
          <p:nvPr/>
        </p:nvSpPr>
        <p:spPr>
          <a:xfrm rot="10800000" flipH="1">
            <a:off x="759899" y="4871435"/>
            <a:ext cx="1961562" cy="1144823"/>
          </a:xfrm>
          <a:prstGeom prst="corner">
            <a:avLst>
              <a:gd name="adj1" fmla="val 17009"/>
              <a:gd name="adj2" fmla="val 16638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 dirty="0">
              <a:latin typeface="Montserrat Medium" panose="00000600000000000000" pitchFamily="2" charset="0"/>
            </a:endParaRPr>
          </a:p>
        </p:txBody>
      </p:sp>
      <p:sp>
        <p:nvSpPr>
          <p:cNvPr id="60" name="L-Shape 59">
            <a:extLst>
              <a:ext uri="{FF2B5EF4-FFF2-40B4-BE49-F238E27FC236}">
                <a16:creationId xmlns:a16="http://schemas.microsoft.com/office/drawing/2014/main" id="{616668F8-3E33-3548-A2EB-B4EA2111F60F}"/>
              </a:ext>
            </a:extLst>
          </p:cNvPr>
          <p:cNvSpPr/>
          <p:nvPr/>
        </p:nvSpPr>
        <p:spPr>
          <a:xfrm rot="10800000" flipH="1">
            <a:off x="2949379" y="4427028"/>
            <a:ext cx="1961562" cy="1144823"/>
          </a:xfrm>
          <a:prstGeom prst="corner">
            <a:avLst>
              <a:gd name="adj1" fmla="val 17009"/>
              <a:gd name="adj2" fmla="val 16638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 dirty="0">
              <a:latin typeface="Montserrat Medium" panose="00000600000000000000" pitchFamily="2" charset="0"/>
            </a:endParaRPr>
          </a:p>
        </p:txBody>
      </p:sp>
      <p:sp>
        <p:nvSpPr>
          <p:cNvPr id="61" name="Freeform 6">
            <a:extLst>
              <a:ext uri="{FF2B5EF4-FFF2-40B4-BE49-F238E27FC236}">
                <a16:creationId xmlns:a16="http://schemas.microsoft.com/office/drawing/2014/main" id="{8FE484B4-F99D-4E4A-95AB-91A430AAEA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49700" y="3026815"/>
            <a:ext cx="282897" cy="281243"/>
          </a:xfrm>
          <a:custGeom>
            <a:avLst/>
            <a:gdLst>
              <a:gd name="T0" fmla="*/ 0 w 753"/>
              <a:gd name="T1" fmla="*/ 750 h 751"/>
              <a:gd name="T2" fmla="*/ 752 w 753"/>
              <a:gd name="T3" fmla="*/ 750 h 751"/>
              <a:gd name="T4" fmla="*/ 752 w 753"/>
              <a:gd name="T5" fmla="*/ 0 h 751"/>
              <a:gd name="T6" fmla="*/ 749 w 753"/>
              <a:gd name="T7" fmla="*/ 0 h 751"/>
              <a:gd name="T8" fmla="*/ 0 w 753"/>
              <a:gd name="T9" fmla="*/ 750 h 7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53" h="751">
                <a:moveTo>
                  <a:pt x="0" y="750"/>
                </a:moveTo>
                <a:lnTo>
                  <a:pt x="752" y="750"/>
                </a:lnTo>
                <a:lnTo>
                  <a:pt x="752" y="0"/>
                </a:lnTo>
                <a:lnTo>
                  <a:pt x="749" y="0"/>
                </a:lnTo>
                <a:lnTo>
                  <a:pt x="0" y="750"/>
                </a:lnTo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3266" dirty="0">
              <a:latin typeface="Montserrat Medium" panose="00000600000000000000" pitchFamily="2" charset="0"/>
            </a:endParaRPr>
          </a:p>
        </p:txBody>
      </p:sp>
      <p:sp>
        <p:nvSpPr>
          <p:cNvPr id="63" name="L-Shape 62">
            <a:extLst>
              <a:ext uri="{FF2B5EF4-FFF2-40B4-BE49-F238E27FC236}">
                <a16:creationId xmlns:a16="http://schemas.microsoft.com/office/drawing/2014/main" id="{E5313BC6-7271-B14C-9A6B-E6F9D254B34D}"/>
              </a:ext>
            </a:extLst>
          </p:cNvPr>
          <p:cNvSpPr/>
          <p:nvPr/>
        </p:nvSpPr>
        <p:spPr>
          <a:xfrm rot="10800000" flipH="1">
            <a:off x="7275501" y="3460259"/>
            <a:ext cx="1961562" cy="1144823"/>
          </a:xfrm>
          <a:prstGeom prst="corner">
            <a:avLst>
              <a:gd name="adj1" fmla="val 17009"/>
              <a:gd name="adj2" fmla="val 16638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 dirty="0">
              <a:latin typeface="Montserrat Medium" panose="00000600000000000000" pitchFamily="2" charset="0"/>
            </a:endParaRPr>
          </a:p>
        </p:txBody>
      </p:sp>
      <p:sp>
        <p:nvSpPr>
          <p:cNvPr id="64" name="L-Shape 63">
            <a:extLst>
              <a:ext uri="{FF2B5EF4-FFF2-40B4-BE49-F238E27FC236}">
                <a16:creationId xmlns:a16="http://schemas.microsoft.com/office/drawing/2014/main" id="{33E7E3A9-DE95-4341-BDA9-7C2592DF7B32}"/>
              </a:ext>
            </a:extLst>
          </p:cNvPr>
          <p:cNvSpPr/>
          <p:nvPr/>
        </p:nvSpPr>
        <p:spPr>
          <a:xfrm rot="10800000" flipH="1">
            <a:off x="9464981" y="3015852"/>
            <a:ext cx="1961562" cy="1144823"/>
          </a:xfrm>
          <a:prstGeom prst="corner">
            <a:avLst>
              <a:gd name="adj1" fmla="val 17009"/>
              <a:gd name="adj2" fmla="val 16638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 dirty="0">
              <a:latin typeface="Montserrat Medium" panose="00000600000000000000" pitchFamily="2" charset="0"/>
            </a:endParaRPr>
          </a:p>
        </p:txBody>
      </p:sp>
      <p:sp>
        <p:nvSpPr>
          <p:cNvPr id="65" name="L-Shape 64">
            <a:extLst>
              <a:ext uri="{FF2B5EF4-FFF2-40B4-BE49-F238E27FC236}">
                <a16:creationId xmlns:a16="http://schemas.microsoft.com/office/drawing/2014/main" id="{93451571-72EA-894E-9134-FA9AC7FD9149}"/>
              </a:ext>
            </a:extLst>
          </p:cNvPr>
          <p:cNvSpPr/>
          <p:nvPr/>
        </p:nvSpPr>
        <p:spPr>
          <a:xfrm rot="10800000" flipH="1">
            <a:off x="5122732" y="3969804"/>
            <a:ext cx="1961562" cy="1144823"/>
          </a:xfrm>
          <a:prstGeom prst="corner">
            <a:avLst>
              <a:gd name="adj1" fmla="val 17009"/>
              <a:gd name="adj2" fmla="val 16638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 dirty="0">
              <a:latin typeface="Montserrat Medium" panose="00000600000000000000" pitchFamily="2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E349412B-D720-CF4B-A448-C16F1FE515D4}"/>
              </a:ext>
            </a:extLst>
          </p:cNvPr>
          <p:cNvSpPr txBox="1"/>
          <p:nvPr/>
        </p:nvSpPr>
        <p:spPr>
          <a:xfrm>
            <a:off x="1029121" y="5107352"/>
            <a:ext cx="779381" cy="33855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de-DE" sz="1600" b="1" dirty="0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HTML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4EEC77E9-EE7E-1248-BE10-8423CCE87745}"/>
              </a:ext>
            </a:extLst>
          </p:cNvPr>
          <p:cNvSpPr txBox="1"/>
          <p:nvPr/>
        </p:nvSpPr>
        <p:spPr>
          <a:xfrm>
            <a:off x="3223067" y="4653405"/>
            <a:ext cx="580608" cy="33855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de-DE" sz="1600" b="1" dirty="0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CSS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F179A501-8C4B-8845-8189-B3826D5D9048}"/>
              </a:ext>
            </a:extLst>
          </p:cNvPr>
          <p:cNvSpPr txBox="1"/>
          <p:nvPr/>
        </p:nvSpPr>
        <p:spPr>
          <a:xfrm>
            <a:off x="5384376" y="4197359"/>
            <a:ext cx="1202573" cy="33855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de-DE" sz="1600" b="1" dirty="0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Bootstrap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41C11513-1E78-CA47-9883-A56434F96CAB}"/>
              </a:ext>
            </a:extLst>
          </p:cNvPr>
          <p:cNvSpPr txBox="1"/>
          <p:nvPr/>
        </p:nvSpPr>
        <p:spPr>
          <a:xfrm>
            <a:off x="7544723" y="3689970"/>
            <a:ext cx="1005403" cy="33855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de-DE" sz="1600" b="1" dirty="0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Angular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B7C4CA7B-E789-924D-BFC6-159B0DB7F0BA}"/>
              </a:ext>
            </a:extLst>
          </p:cNvPr>
          <p:cNvSpPr txBox="1"/>
          <p:nvPr/>
        </p:nvSpPr>
        <p:spPr>
          <a:xfrm>
            <a:off x="9738669" y="3247308"/>
            <a:ext cx="1234633" cy="33855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de-DE" sz="1600" b="1" dirty="0" err="1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Meet</a:t>
            </a:r>
            <a:r>
              <a:rPr lang="de-DE" sz="1600" b="1" dirty="0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 </a:t>
            </a:r>
            <a:r>
              <a:rPr lang="de-DE" sz="1600" b="1" dirty="0" err="1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Now</a:t>
            </a:r>
            <a:endParaRPr lang="de-DE" sz="1600" b="1" dirty="0">
              <a:solidFill>
                <a:schemeClr val="tx2"/>
              </a:solidFill>
              <a:latin typeface="Montserrat Medium" panose="00000600000000000000" pitchFamily="2" charset="0"/>
              <a:ea typeface="League Spartan" charset="0"/>
              <a:cs typeface="Poppins" pitchFamily="2" charset="77"/>
            </a:endParaRPr>
          </a:p>
        </p:txBody>
      </p:sp>
      <p:sp>
        <p:nvSpPr>
          <p:cNvPr id="21" name="Freeform 18">
            <a:extLst>
              <a:ext uri="{FF2B5EF4-FFF2-40B4-BE49-F238E27FC236}">
                <a16:creationId xmlns:a16="http://schemas.microsoft.com/office/drawing/2014/main" id="{FD904F95-E618-5145-B2BD-EC450964FB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90226" y="2837340"/>
            <a:ext cx="170401" cy="177017"/>
          </a:xfrm>
          <a:custGeom>
            <a:avLst/>
            <a:gdLst>
              <a:gd name="T0" fmla="*/ 248 w 453"/>
              <a:gd name="T1" fmla="*/ 462 h 471"/>
              <a:gd name="T2" fmla="*/ 248 w 453"/>
              <a:gd name="T3" fmla="*/ 462 h 471"/>
              <a:gd name="T4" fmla="*/ 215 w 453"/>
              <a:gd name="T5" fmla="*/ 457 h 471"/>
              <a:gd name="T6" fmla="*/ 9 w 453"/>
              <a:gd name="T7" fmla="*/ 188 h 471"/>
              <a:gd name="T8" fmla="*/ 9 w 453"/>
              <a:gd name="T9" fmla="*/ 188 h 471"/>
              <a:gd name="T10" fmla="*/ 13 w 453"/>
              <a:gd name="T11" fmla="*/ 155 h 471"/>
              <a:gd name="T12" fmla="*/ 204 w 453"/>
              <a:gd name="T13" fmla="*/ 9 h 471"/>
              <a:gd name="T14" fmla="*/ 204 w 453"/>
              <a:gd name="T15" fmla="*/ 9 h 471"/>
              <a:gd name="T16" fmla="*/ 237 w 453"/>
              <a:gd name="T17" fmla="*/ 13 h 471"/>
              <a:gd name="T18" fmla="*/ 443 w 453"/>
              <a:gd name="T19" fmla="*/ 282 h 471"/>
              <a:gd name="T20" fmla="*/ 443 w 453"/>
              <a:gd name="T21" fmla="*/ 282 h 471"/>
              <a:gd name="T22" fmla="*/ 439 w 453"/>
              <a:gd name="T23" fmla="*/ 315 h 471"/>
              <a:gd name="T24" fmla="*/ 248 w 453"/>
              <a:gd name="T25" fmla="*/ 462 h 4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53" h="471">
                <a:moveTo>
                  <a:pt x="248" y="462"/>
                </a:moveTo>
                <a:lnTo>
                  <a:pt x="248" y="462"/>
                </a:lnTo>
                <a:cubicBezTo>
                  <a:pt x="237" y="470"/>
                  <a:pt x="223" y="469"/>
                  <a:pt x="215" y="457"/>
                </a:cubicBezTo>
                <a:lnTo>
                  <a:pt x="9" y="188"/>
                </a:lnTo>
                <a:lnTo>
                  <a:pt x="9" y="188"/>
                </a:lnTo>
                <a:cubicBezTo>
                  <a:pt x="0" y="178"/>
                  <a:pt x="3" y="163"/>
                  <a:pt x="13" y="155"/>
                </a:cubicBezTo>
                <a:lnTo>
                  <a:pt x="204" y="9"/>
                </a:lnTo>
                <a:lnTo>
                  <a:pt x="204" y="9"/>
                </a:lnTo>
                <a:cubicBezTo>
                  <a:pt x="215" y="0"/>
                  <a:pt x="230" y="3"/>
                  <a:pt x="237" y="13"/>
                </a:cubicBezTo>
                <a:lnTo>
                  <a:pt x="443" y="282"/>
                </a:lnTo>
                <a:lnTo>
                  <a:pt x="443" y="282"/>
                </a:lnTo>
                <a:cubicBezTo>
                  <a:pt x="452" y="294"/>
                  <a:pt x="449" y="308"/>
                  <a:pt x="439" y="315"/>
                </a:cubicBezTo>
                <a:lnTo>
                  <a:pt x="248" y="462"/>
                </a:lnTo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de-DE" sz="3266" dirty="0">
              <a:latin typeface="Montserrat Medium" panose="00000600000000000000" pitchFamily="2" charset="0"/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691EBCB-B954-464D-ADA2-BB48F7CEE0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B63AE30-BB49-4F4A-BE45-CF85E65FE5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arnin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E21F75A-B665-4300-838F-B393EE0E31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B63CAE-2CBB-47A6-9FDC-55E3E16A1DDB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51763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F6A039D-AD2E-4691-97E8-5724F6AA603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B63CAE-2CBB-47A6-9FDC-55E3E16A1DDB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B9BCF9D-33DB-4849-98AF-8126CE1E7CC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DE" dirty="0"/>
          </a:p>
          <a:p>
            <a:endParaRPr lang="en-DE" dirty="0"/>
          </a:p>
          <a:p>
            <a:endParaRPr lang="en-DE" dirty="0"/>
          </a:p>
          <a:p>
            <a:endParaRPr lang="en-DE" dirty="0"/>
          </a:p>
          <a:p>
            <a:endParaRPr lang="en-DE" dirty="0"/>
          </a:p>
          <a:p>
            <a:endParaRPr lang="en-DE" dirty="0"/>
          </a:p>
          <a:p>
            <a:pPr algn="ctr"/>
            <a:r>
              <a:rPr lang="en-DE" sz="5400" b="1" dirty="0">
                <a:solidFill>
                  <a:srgbClr val="00AA70"/>
                </a:solidFill>
              </a:rPr>
              <a:t>Q&amp;A</a:t>
            </a:r>
          </a:p>
          <a:p>
            <a:endParaRPr lang="en-DE" dirty="0"/>
          </a:p>
          <a:p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F86D06E-292B-487C-A466-F412846721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49F836D-51B5-4835-8FE3-94F64BF82A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885359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583A575-14BC-4D78-85C2-D778E1BC62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Hafiz M Salman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3E65EB0-7A7A-4DFA-AD49-71ECFF6784C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lnSpcReduction="10000"/>
          </a:bodyPr>
          <a:lstStyle/>
          <a:p>
            <a:r>
              <a:rPr lang="en-DE" dirty="0"/>
              <a:t>-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577DB51-9EA8-41A1-81A4-8E3ABE0D1E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lnSpcReduction="10000"/>
          </a:bodyPr>
          <a:lstStyle/>
          <a:p>
            <a:r>
              <a:rPr lang="en-DE" dirty="0"/>
              <a:t>+49-</a:t>
            </a:r>
            <a:r>
              <a:rPr lang="en-US" dirty="0"/>
              <a:t>1639749160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3FC19C43-4C54-44D2-99F9-256DE74B3CD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err="1"/>
              <a:t>Hafiz.salman</a:t>
            </a:r>
            <a:r>
              <a:rPr lang="en-DE" dirty="0"/>
              <a:t>@advisori.de</a:t>
            </a:r>
            <a:endParaRPr lang="de-DE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2" name="Ink 1">
                <a:extLst>
                  <a:ext uri="{FF2B5EF4-FFF2-40B4-BE49-F238E27FC236}">
                    <a16:creationId xmlns:a16="http://schemas.microsoft.com/office/drawing/2014/main" id="{63BBCD25-E07E-5B00-2F86-BAB93CD9192E}"/>
                  </a:ext>
                </a:extLst>
              </p14:cNvPr>
              <p14:cNvContentPartPr/>
              <p14:nvPr/>
            </p14:nvContentPartPr>
            <p14:xfrm>
              <a:off x="537161" y="4287184"/>
              <a:ext cx="490320" cy="31320"/>
            </p14:xfrm>
          </p:contentPart>
        </mc:Choice>
        <mc:Fallback xmlns="">
          <p:pic>
            <p:nvPicPr>
              <p:cNvPr id="2" name="Ink 1">
                <a:extLst>
                  <a:ext uri="{FF2B5EF4-FFF2-40B4-BE49-F238E27FC236}">
                    <a16:creationId xmlns:a16="http://schemas.microsoft.com/office/drawing/2014/main" id="{63BBCD25-E07E-5B00-2F86-BAB93CD9192E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74161" y="4224184"/>
                <a:ext cx="615960" cy="15696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6651786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F6A039D-AD2E-4691-97E8-5724F6AA603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B63CAE-2CBB-47A6-9FDC-55E3E16A1DDB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B9BCF9D-33DB-4849-98AF-8126CE1E7CC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pPr marL="522900" lvl="1" indent="-342900">
              <a:buFont typeface="+mj-lt"/>
              <a:buAutoNum type="arabicPeriod"/>
            </a:pPr>
            <a:endParaRPr lang="en-DE" sz="2000" dirty="0"/>
          </a:p>
          <a:p>
            <a:pPr marL="522900" lvl="1" indent="-342900">
              <a:buFont typeface="+mj-lt"/>
              <a:buAutoNum type="arabicPeriod"/>
            </a:pPr>
            <a:r>
              <a:rPr lang="de-DE" sz="2000" dirty="0" err="1"/>
              <a:t>Introduction</a:t>
            </a:r>
            <a:endParaRPr lang="en-DE" sz="2000" dirty="0"/>
          </a:p>
          <a:p>
            <a:pPr marL="522900" lvl="1" indent="-342900">
              <a:buFont typeface="+mj-lt"/>
              <a:buAutoNum type="arabicPeriod"/>
            </a:pPr>
            <a:r>
              <a:rPr lang="de-DE" sz="2000" dirty="0" err="1"/>
              <a:t>Proble</a:t>
            </a:r>
            <a:r>
              <a:rPr lang="en-DE" sz="2000" dirty="0"/>
              <a:t>m</a:t>
            </a:r>
            <a:r>
              <a:rPr lang="de-DE" sz="2000" dirty="0"/>
              <a:t> &amp; </a:t>
            </a:r>
            <a:r>
              <a:rPr lang="en-DE" sz="2000" dirty="0"/>
              <a:t>Solution</a:t>
            </a:r>
          </a:p>
          <a:p>
            <a:pPr marL="522900" lvl="1" indent="-342900">
              <a:buFont typeface="+mj-lt"/>
              <a:buAutoNum type="arabicPeriod"/>
            </a:pPr>
            <a:r>
              <a:rPr lang="en-DE" sz="2000" dirty="0"/>
              <a:t>Technology</a:t>
            </a:r>
          </a:p>
          <a:p>
            <a:pPr marL="522900" lvl="1" indent="-342900">
              <a:buFont typeface="+mj-lt"/>
              <a:buAutoNum type="arabicPeriod"/>
            </a:pPr>
            <a:r>
              <a:rPr lang="en-DE" sz="2000" dirty="0"/>
              <a:t>Features (LIVE DEMO)</a:t>
            </a:r>
          </a:p>
          <a:p>
            <a:pPr marL="522900" lvl="1" indent="-342900">
              <a:buFont typeface="+mj-lt"/>
              <a:buAutoNum type="arabicPeriod"/>
            </a:pPr>
            <a:r>
              <a:rPr lang="en-DE" sz="2000" dirty="0"/>
              <a:t>Benefits</a:t>
            </a:r>
          </a:p>
          <a:p>
            <a:pPr marL="522900" lvl="1" indent="-342900">
              <a:buFont typeface="+mj-lt"/>
              <a:buAutoNum type="arabicPeriod"/>
            </a:pPr>
            <a:r>
              <a:rPr lang="de-DE" sz="2000" dirty="0"/>
              <a:t>Future Enhancements</a:t>
            </a:r>
            <a:endParaRPr lang="en-DE" sz="2000" dirty="0"/>
          </a:p>
          <a:p>
            <a:pPr marL="522900" lvl="1" indent="-342900">
              <a:buFont typeface="+mj-lt"/>
              <a:buAutoNum type="arabicPeriod"/>
            </a:pPr>
            <a:r>
              <a:rPr lang="en-DE" sz="2000" dirty="0"/>
              <a:t>Conclusion</a:t>
            </a:r>
            <a:endParaRPr lang="de-DE" sz="2000" dirty="0"/>
          </a:p>
          <a:p>
            <a:pPr marL="522900" lvl="1" indent="-342900">
              <a:buFont typeface="+mj-lt"/>
              <a:buAutoNum type="arabicPeriod"/>
            </a:pPr>
            <a:r>
              <a:rPr lang="de-DE" sz="2000" dirty="0"/>
              <a:t>Learning</a:t>
            </a:r>
            <a:endParaRPr lang="en-DE" sz="2000" dirty="0"/>
          </a:p>
          <a:p>
            <a:pPr marL="522900" lvl="1" indent="-342900">
              <a:buFont typeface="+mj-lt"/>
              <a:buAutoNum type="arabicPeriod"/>
            </a:pPr>
            <a:r>
              <a:rPr lang="en-DE" sz="2000" dirty="0"/>
              <a:t>Q&amp;A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F86D06E-292B-487C-A466-F412846721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Table of content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49F836D-51B5-4835-8FE3-94F64BF82A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07158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Circle">
            <a:extLst>
              <a:ext uri="{FF2B5EF4-FFF2-40B4-BE49-F238E27FC236}">
                <a16:creationId xmlns:a16="http://schemas.microsoft.com/office/drawing/2014/main" id="{46951D8D-EF9F-1244-8EC2-F505F3B1571B}"/>
              </a:ext>
            </a:extLst>
          </p:cNvPr>
          <p:cNvSpPr/>
          <p:nvPr/>
        </p:nvSpPr>
        <p:spPr>
          <a:xfrm flipV="1">
            <a:off x="838200" y="2685216"/>
            <a:ext cx="172399" cy="172399"/>
          </a:xfrm>
          <a:prstGeom prst="diamond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lang="de-DE" sz="2532" dirty="0">
              <a:latin typeface="Montserrat Medium" panose="00000600000000000000" pitchFamily="2" charset="0"/>
            </a:endParaRPr>
          </a:p>
        </p:txBody>
      </p:sp>
      <p:sp>
        <p:nvSpPr>
          <p:cNvPr id="148" name="Circle">
            <a:extLst>
              <a:ext uri="{FF2B5EF4-FFF2-40B4-BE49-F238E27FC236}">
                <a16:creationId xmlns:a16="http://schemas.microsoft.com/office/drawing/2014/main" id="{AD94B11F-487F-384A-B883-685DC5BD0ED1}"/>
              </a:ext>
            </a:extLst>
          </p:cNvPr>
          <p:cNvSpPr/>
          <p:nvPr/>
        </p:nvSpPr>
        <p:spPr>
          <a:xfrm flipV="1">
            <a:off x="844102" y="4594554"/>
            <a:ext cx="160595" cy="160595"/>
          </a:xfrm>
          <a:prstGeom prst="diamond">
            <a:avLst/>
          </a:prstGeom>
          <a:solidFill>
            <a:schemeClr val="accent3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lang="de-DE" sz="2532" dirty="0">
              <a:latin typeface="Montserrat Medium" panose="00000600000000000000" pitchFamily="2" charset="0"/>
            </a:endParaRPr>
          </a:p>
        </p:txBody>
      </p:sp>
      <p:sp>
        <p:nvSpPr>
          <p:cNvPr id="150" name="Subtitle 2">
            <a:extLst>
              <a:ext uri="{FF2B5EF4-FFF2-40B4-BE49-F238E27FC236}">
                <a16:creationId xmlns:a16="http://schemas.microsoft.com/office/drawing/2014/main" id="{0AF2960A-CDAD-9846-98CA-34B5E7E69362}"/>
              </a:ext>
            </a:extLst>
          </p:cNvPr>
          <p:cNvSpPr txBox="1">
            <a:spLocks/>
          </p:cNvSpPr>
          <p:nvPr/>
        </p:nvSpPr>
        <p:spPr>
          <a:xfrm>
            <a:off x="838200" y="1760920"/>
            <a:ext cx="2999497" cy="525080"/>
          </a:xfrm>
          <a:prstGeom prst="rect">
            <a:avLst/>
          </a:prstGeom>
        </p:spPr>
        <p:txBody>
          <a:bodyPr vert="horz" wrap="square" lIns="4572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750"/>
              </a:lnSpc>
            </a:pPr>
            <a:r>
              <a:rPr lang="de-DE" sz="2000" dirty="0"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Hafiz M Salman</a:t>
            </a:r>
          </a:p>
          <a:p>
            <a:pPr algn="l">
              <a:lnSpc>
                <a:spcPts val="1750"/>
              </a:lnSpc>
            </a:pPr>
            <a:r>
              <a:rPr lang="de-DE" sz="1200" dirty="0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Working Student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F9520175-8F5A-2942-855D-9D5ED8287349}"/>
              </a:ext>
            </a:extLst>
          </p:cNvPr>
          <p:cNvSpPr txBox="1"/>
          <p:nvPr/>
        </p:nvSpPr>
        <p:spPr>
          <a:xfrm>
            <a:off x="1171254" y="2590800"/>
            <a:ext cx="1949573" cy="33855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de-DE" sz="1600" b="1" dirty="0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Work Experience</a:t>
            </a:r>
          </a:p>
        </p:txBody>
      </p:sp>
      <p:sp>
        <p:nvSpPr>
          <p:cNvPr id="152" name="Subtitle 2">
            <a:extLst>
              <a:ext uri="{FF2B5EF4-FFF2-40B4-BE49-F238E27FC236}">
                <a16:creationId xmlns:a16="http://schemas.microsoft.com/office/drawing/2014/main" id="{36A097BF-9735-CD4D-B7E6-F268697D9EF5}"/>
              </a:ext>
            </a:extLst>
          </p:cNvPr>
          <p:cNvSpPr txBox="1">
            <a:spLocks/>
          </p:cNvSpPr>
          <p:nvPr/>
        </p:nvSpPr>
        <p:spPr>
          <a:xfrm>
            <a:off x="1173374" y="2923976"/>
            <a:ext cx="2618497" cy="1485343"/>
          </a:xfrm>
          <a:prstGeom prst="rect">
            <a:avLst/>
          </a:prstGeom>
        </p:spPr>
        <p:txBody>
          <a:bodyPr vert="horz" wrap="square" lIns="4572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algn="l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4 </a:t>
            </a:r>
            <a:r>
              <a:rPr lang="de-DE" sz="1200" dirty="0" err="1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years</a:t>
            </a:r>
            <a:r>
              <a:rPr lang="de-DE" sz="1200" dirty="0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of</a:t>
            </a:r>
            <a:r>
              <a:rPr lang="de-DE" sz="1200" dirty="0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experience</a:t>
            </a:r>
            <a:r>
              <a:rPr lang="de-DE" sz="1200" dirty="0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 in Java </a:t>
            </a:r>
            <a:br>
              <a:rPr lang="de-DE" sz="1200" dirty="0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</a:br>
            <a:r>
              <a:rPr lang="de-DE" sz="1200" dirty="0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Spring Boot, </a:t>
            </a:r>
            <a:r>
              <a:rPr lang="de-DE" sz="1200" dirty="0" err="1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Elastic</a:t>
            </a:r>
            <a:r>
              <a:rPr lang="de-DE" sz="1200" dirty="0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 Search and Unit </a:t>
            </a:r>
            <a:r>
              <a:rPr lang="de-DE" sz="1200" dirty="0" err="1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Testing</a:t>
            </a:r>
            <a:r>
              <a:rPr lang="de-DE" sz="1200" dirty="0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.</a:t>
            </a:r>
          </a:p>
          <a:p>
            <a:pPr marL="171450" indent="-171450" algn="l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Also </a:t>
            </a:r>
            <a:r>
              <a:rPr lang="de-DE" sz="1200" dirty="0" err="1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worked</a:t>
            </a:r>
            <a:r>
              <a:rPr lang="de-DE" sz="1200" dirty="0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 on Scala, </a:t>
            </a:r>
            <a:r>
              <a:rPr lang="de-DE" sz="1200" dirty="0" err="1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Akka</a:t>
            </a:r>
            <a:r>
              <a:rPr lang="de-DE" sz="1200" dirty="0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, and </a:t>
            </a:r>
            <a:r>
              <a:rPr lang="de-DE" sz="1200" dirty="0" err="1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Vaadin</a:t>
            </a:r>
            <a:r>
              <a:rPr lang="de-DE" sz="1200" dirty="0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.</a:t>
            </a:r>
          </a:p>
          <a:p>
            <a:pPr marL="171450" indent="-171450" algn="l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Fintech, Telecom.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5AC568E8-7E25-B74F-AC5D-F6B9092DD1A2}"/>
              </a:ext>
            </a:extLst>
          </p:cNvPr>
          <p:cNvSpPr txBox="1"/>
          <p:nvPr/>
        </p:nvSpPr>
        <p:spPr>
          <a:xfrm>
            <a:off x="1171254" y="4495800"/>
            <a:ext cx="1234633" cy="33855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de-DE" sz="1600" b="1" dirty="0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Education</a:t>
            </a:r>
          </a:p>
        </p:txBody>
      </p:sp>
      <p:sp>
        <p:nvSpPr>
          <p:cNvPr id="154" name="Subtitle 2">
            <a:extLst>
              <a:ext uri="{FF2B5EF4-FFF2-40B4-BE49-F238E27FC236}">
                <a16:creationId xmlns:a16="http://schemas.microsoft.com/office/drawing/2014/main" id="{8CDD36B1-BF7A-AD4A-94F2-677FF37ABA85}"/>
              </a:ext>
            </a:extLst>
          </p:cNvPr>
          <p:cNvSpPr txBox="1">
            <a:spLocks/>
          </p:cNvSpPr>
          <p:nvPr/>
        </p:nvSpPr>
        <p:spPr>
          <a:xfrm>
            <a:off x="1173374" y="4828976"/>
            <a:ext cx="2999497" cy="986745"/>
          </a:xfrm>
          <a:prstGeom prst="rect">
            <a:avLst/>
          </a:prstGeom>
        </p:spPr>
        <p:txBody>
          <a:bodyPr vert="horz" wrap="square" lIns="4572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algn="l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de-DE" sz="1200" dirty="0" err="1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Bachelor‘s</a:t>
            </a:r>
            <a:r>
              <a:rPr lang="de-DE" sz="1200" dirty="0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: Computer Science (2016-2020)</a:t>
            </a:r>
          </a:p>
          <a:p>
            <a:pPr marL="171450" indent="-171450" algn="l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de-DE" sz="1200" dirty="0" err="1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Master‘s</a:t>
            </a:r>
            <a:r>
              <a:rPr lang="de-DE" sz="1200" dirty="0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: </a:t>
            </a:r>
            <a:r>
              <a:rPr lang="en-US" sz="1200" dirty="0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High Integrity Systems (2024 - Present)</a:t>
            </a:r>
            <a:endParaRPr lang="de-DE" sz="1200" dirty="0">
              <a:solidFill>
                <a:schemeClr val="tx1"/>
              </a:solidFill>
              <a:latin typeface="Montserrat Medium" panose="00000600000000000000" pitchFamily="2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38D4E9E-77C1-44AC-B142-1320B9B5E5B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1FA7A26-1513-4B66-993A-FE4A474107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ntroduc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C83BF85-8D56-4D28-9B67-AC9178FCA51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B63CAE-2CBB-47A6-9FDC-55E3E16A1DDB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843489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0A575A9-DDF8-694D-9D20-C7F2E21BF414}"/>
              </a:ext>
            </a:extLst>
          </p:cNvPr>
          <p:cNvSpPr/>
          <p:nvPr/>
        </p:nvSpPr>
        <p:spPr>
          <a:xfrm>
            <a:off x="4724400" y="1814633"/>
            <a:ext cx="2703318" cy="16143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193706F-BD69-9A41-A191-0337AD933C49}"/>
              </a:ext>
            </a:extLst>
          </p:cNvPr>
          <p:cNvSpPr/>
          <p:nvPr/>
        </p:nvSpPr>
        <p:spPr>
          <a:xfrm>
            <a:off x="4724400" y="1814633"/>
            <a:ext cx="68580" cy="16143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 dirty="0">
              <a:solidFill>
                <a:schemeClr val="tx2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F1F08F-EE9C-554F-A670-1C2EA3FCAD59}"/>
              </a:ext>
            </a:extLst>
          </p:cNvPr>
          <p:cNvSpPr txBox="1"/>
          <p:nvPr/>
        </p:nvSpPr>
        <p:spPr>
          <a:xfrm>
            <a:off x="5363256" y="2023646"/>
            <a:ext cx="1931939" cy="338554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r>
              <a:rPr lang="de-DE" sz="1600" b="1" dirty="0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Time </a:t>
            </a:r>
            <a:r>
              <a:rPr lang="de-DE" sz="1600" b="1" dirty="0" err="1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Inefficiency</a:t>
            </a:r>
            <a:endParaRPr lang="de-DE" sz="1600" b="1" dirty="0">
              <a:solidFill>
                <a:schemeClr val="tx2"/>
              </a:solidFill>
              <a:latin typeface="Montserrat Medium" panose="00000600000000000000" pitchFamily="2" charset="0"/>
              <a:ea typeface="League Spartan" charset="0"/>
              <a:cs typeface="Poppins" pitchFamily="2" charset="77"/>
            </a:endParaRP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27FC62CA-58E7-4443-A500-14D4DABD918F}"/>
              </a:ext>
            </a:extLst>
          </p:cNvPr>
          <p:cNvSpPr txBox="1">
            <a:spLocks/>
          </p:cNvSpPr>
          <p:nvPr/>
        </p:nvSpPr>
        <p:spPr>
          <a:xfrm>
            <a:off x="5669827" y="2444729"/>
            <a:ext cx="1590118" cy="712631"/>
          </a:xfrm>
          <a:prstGeom prst="rect">
            <a:avLst/>
          </a:prstGeom>
        </p:spPr>
        <p:txBody>
          <a:bodyPr vert="horz" wrap="square" lIns="45720" tIns="22860" rIns="45720" bIns="2286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750"/>
              </a:lnSpc>
            </a:pPr>
            <a:r>
              <a:rPr lang="en-US" sz="1000" dirty="0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Time-consuming process leading to reduced productivity.</a:t>
            </a:r>
            <a:endParaRPr lang="de-DE" sz="1000" dirty="0">
              <a:solidFill>
                <a:schemeClr val="tx1"/>
              </a:solidFill>
              <a:latin typeface="Montserrat Medium" panose="00000600000000000000" pitchFamily="2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8146A1-9CBF-CB4A-8D60-552C8C87F6BF}"/>
              </a:ext>
            </a:extLst>
          </p:cNvPr>
          <p:cNvSpPr txBox="1"/>
          <p:nvPr/>
        </p:nvSpPr>
        <p:spPr>
          <a:xfrm>
            <a:off x="5000506" y="2329429"/>
            <a:ext cx="506870" cy="584775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de-DE" sz="3200" b="1" dirty="0">
                <a:solidFill>
                  <a:schemeClr val="accent1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2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D12FDF8-4B39-3344-A782-1E5B5D614200}"/>
              </a:ext>
            </a:extLst>
          </p:cNvPr>
          <p:cNvSpPr/>
          <p:nvPr/>
        </p:nvSpPr>
        <p:spPr>
          <a:xfrm>
            <a:off x="782005" y="4329233"/>
            <a:ext cx="2703318" cy="16143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7E02D11-C608-ED45-8792-4410CE1E1214}"/>
              </a:ext>
            </a:extLst>
          </p:cNvPr>
          <p:cNvSpPr/>
          <p:nvPr/>
        </p:nvSpPr>
        <p:spPr>
          <a:xfrm>
            <a:off x="782005" y="4329233"/>
            <a:ext cx="68580" cy="161436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 dirty="0">
              <a:solidFill>
                <a:schemeClr val="tx2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8F09A68-6E53-4C41-AE56-9202A93E3D78}"/>
              </a:ext>
            </a:extLst>
          </p:cNvPr>
          <p:cNvSpPr txBox="1"/>
          <p:nvPr/>
        </p:nvSpPr>
        <p:spPr>
          <a:xfrm>
            <a:off x="1423208" y="4571250"/>
            <a:ext cx="1853392" cy="33855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de-DE" sz="1600" b="1" dirty="0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Double Booking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7ED02702-1082-444F-A80B-BC8E4B37F491}"/>
              </a:ext>
            </a:extLst>
          </p:cNvPr>
          <p:cNvSpPr txBox="1">
            <a:spLocks/>
          </p:cNvSpPr>
          <p:nvPr/>
        </p:nvSpPr>
        <p:spPr>
          <a:xfrm>
            <a:off x="1727432" y="4959329"/>
            <a:ext cx="1590118" cy="712631"/>
          </a:xfrm>
          <a:prstGeom prst="rect">
            <a:avLst/>
          </a:prstGeom>
        </p:spPr>
        <p:txBody>
          <a:bodyPr vert="horz" wrap="square" lIns="45720" tIns="22860" rIns="45720" bIns="2286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750"/>
              </a:lnSpc>
            </a:pPr>
            <a:r>
              <a:rPr lang="en-US" sz="1000" dirty="0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High risk of double bookings and scheduling conflicts.</a:t>
            </a:r>
            <a:endParaRPr lang="de-DE" sz="1000" dirty="0">
              <a:solidFill>
                <a:schemeClr val="tx1"/>
              </a:solidFill>
              <a:latin typeface="Montserrat Medium" panose="00000600000000000000" pitchFamily="2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86933A3-07FB-5046-BE63-855E29EDE268}"/>
              </a:ext>
            </a:extLst>
          </p:cNvPr>
          <p:cNvSpPr txBox="1"/>
          <p:nvPr/>
        </p:nvSpPr>
        <p:spPr>
          <a:xfrm>
            <a:off x="1038874" y="4844029"/>
            <a:ext cx="545342" cy="584775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de-DE" sz="3200" b="1">
                <a:solidFill>
                  <a:schemeClr val="accent4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4.</a:t>
            </a:r>
            <a:endParaRPr lang="de-DE" sz="3200" b="1" dirty="0">
              <a:solidFill>
                <a:schemeClr val="accent4"/>
              </a:solidFill>
              <a:latin typeface="Montserrat Medium" panose="00000600000000000000" pitchFamily="2" charset="0"/>
              <a:ea typeface="League Spartan" charset="0"/>
              <a:cs typeface="Poppins" pitchFamily="2" charset="77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72B6B84-50B9-274F-81BC-B0D4CA47BF79}"/>
              </a:ext>
            </a:extLst>
          </p:cNvPr>
          <p:cNvSpPr/>
          <p:nvPr/>
        </p:nvSpPr>
        <p:spPr>
          <a:xfrm>
            <a:off x="8706742" y="1814633"/>
            <a:ext cx="2703318" cy="16143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81A76C2-4329-014C-B517-93C49068FE6E}"/>
              </a:ext>
            </a:extLst>
          </p:cNvPr>
          <p:cNvSpPr/>
          <p:nvPr/>
        </p:nvSpPr>
        <p:spPr>
          <a:xfrm>
            <a:off x="8706741" y="1814633"/>
            <a:ext cx="68580" cy="16143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 dirty="0">
              <a:solidFill>
                <a:schemeClr val="tx2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DF1B26C-9A81-FC4C-8AEA-84B8E8147CE3}"/>
              </a:ext>
            </a:extLst>
          </p:cNvPr>
          <p:cNvSpPr txBox="1"/>
          <p:nvPr/>
        </p:nvSpPr>
        <p:spPr>
          <a:xfrm>
            <a:off x="9280911" y="2023646"/>
            <a:ext cx="2225289" cy="33855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de-DE" sz="1600" b="1" dirty="0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Tracking </a:t>
            </a:r>
            <a:r>
              <a:rPr lang="de-DE" sz="1600" b="1" dirty="0" err="1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Difficulties</a:t>
            </a:r>
            <a:endParaRPr lang="de-DE" sz="1600" b="1" dirty="0">
              <a:solidFill>
                <a:schemeClr val="tx2"/>
              </a:solidFill>
              <a:latin typeface="Montserrat Medium" panose="00000600000000000000" pitchFamily="2" charset="0"/>
              <a:ea typeface="League Spartan" charset="0"/>
              <a:cs typeface="Poppins" pitchFamily="2" charset="77"/>
            </a:endParaRP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21C5D0BD-2573-CF45-A0B6-17C9037BC00C}"/>
              </a:ext>
            </a:extLst>
          </p:cNvPr>
          <p:cNvSpPr txBox="1">
            <a:spLocks/>
          </p:cNvSpPr>
          <p:nvPr/>
        </p:nvSpPr>
        <p:spPr>
          <a:xfrm>
            <a:off x="9601200" y="2409337"/>
            <a:ext cx="1590118" cy="481799"/>
          </a:xfrm>
          <a:prstGeom prst="rect">
            <a:avLst/>
          </a:prstGeom>
        </p:spPr>
        <p:txBody>
          <a:bodyPr vert="horz" wrap="square" lIns="45720" tIns="22860" rIns="45720" bIns="2286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750"/>
              </a:lnSpc>
            </a:pPr>
            <a:r>
              <a:rPr lang="en-US" sz="1000" dirty="0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Difficult to track bookings.</a:t>
            </a:r>
            <a:endParaRPr lang="de-DE" sz="1000" dirty="0">
              <a:solidFill>
                <a:schemeClr val="tx1"/>
              </a:solidFill>
              <a:latin typeface="Montserrat Medium" panose="00000600000000000000" pitchFamily="2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F943FDD-EC8C-194D-8618-7FC551759E72}"/>
              </a:ext>
            </a:extLst>
          </p:cNvPr>
          <p:cNvSpPr txBox="1"/>
          <p:nvPr/>
        </p:nvSpPr>
        <p:spPr>
          <a:xfrm>
            <a:off x="8982847" y="2329429"/>
            <a:ext cx="506870" cy="584775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de-DE" sz="3200" b="1" dirty="0">
                <a:solidFill>
                  <a:schemeClr val="accent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3.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E75CD65-A8C6-3641-9952-E18C39EB9EBB}"/>
              </a:ext>
            </a:extLst>
          </p:cNvPr>
          <p:cNvSpPr/>
          <p:nvPr/>
        </p:nvSpPr>
        <p:spPr>
          <a:xfrm>
            <a:off x="4744342" y="4329233"/>
            <a:ext cx="2703318" cy="16143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255B249-9849-E74A-948D-EC66D814ABEE}"/>
              </a:ext>
            </a:extLst>
          </p:cNvPr>
          <p:cNvSpPr/>
          <p:nvPr/>
        </p:nvSpPr>
        <p:spPr>
          <a:xfrm>
            <a:off x="4744341" y="4329233"/>
            <a:ext cx="68580" cy="161436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 dirty="0">
              <a:solidFill>
                <a:schemeClr val="tx2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CC73FA0D-EAFB-E24D-AFB3-B286488E42B2}"/>
              </a:ext>
            </a:extLst>
          </p:cNvPr>
          <p:cNvSpPr txBox="1"/>
          <p:nvPr/>
        </p:nvSpPr>
        <p:spPr>
          <a:xfrm>
            <a:off x="5334000" y="4571250"/>
            <a:ext cx="2042547" cy="33855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1600" b="1" dirty="0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Space Inefficiency</a:t>
            </a:r>
            <a:endParaRPr lang="de-DE" sz="1600" b="1" dirty="0">
              <a:solidFill>
                <a:schemeClr val="tx2"/>
              </a:solidFill>
              <a:latin typeface="Montserrat Medium" panose="00000600000000000000" pitchFamily="2" charset="0"/>
              <a:ea typeface="League Spartan" charset="0"/>
              <a:cs typeface="Poppins" pitchFamily="2" charset="77"/>
            </a:endParaRPr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03299D72-7701-7045-9737-06E3AF0049FB}"/>
              </a:ext>
            </a:extLst>
          </p:cNvPr>
          <p:cNvSpPr txBox="1">
            <a:spLocks/>
          </p:cNvSpPr>
          <p:nvPr/>
        </p:nvSpPr>
        <p:spPr>
          <a:xfrm>
            <a:off x="5689768" y="4959329"/>
            <a:ext cx="1590118" cy="481799"/>
          </a:xfrm>
          <a:prstGeom prst="rect">
            <a:avLst/>
          </a:prstGeom>
        </p:spPr>
        <p:txBody>
          <a:bodyPr vert="horz" wrap="square" lIns="45720" tIns="22860" rIns="45720" bIns="2286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750"/>
              </a:lnSpc>
            </a:pPr>
            <a:r>
              <a:rPr lang="en-US" sz="1000" dirty="0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Inefficient use of office space.</a:t>
            </a:r>
            <a:endParaRPr lang="de-DE" sz="1000" dirty="0">
              <a:solidFill>
                <a:schemeClr val="tx1"/>
              </a:solidFill>
              <a:latin typeface="Montserrat Medium" panose="00000600000000000000" pitchFamily="2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DEAD9EF-75D4-374B-A551-F7A7C45187CD}"/>
              </a:ext>
            </a:extLst>
          </p:cNvPr>
          <p:cNvSpPr txBox="1"/>
          <p:nvPr/>
        </p:nvSpPr>
        <p:spPr>
          <a:xfrm>
            <a:off x="5020447" y="4844029"/>
            <a:ext cx="506870" cy="584775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de-DE" sz="3200" b="1" dirty="0">
                <a:solidFill>
                  <a:schemeClr val="accent5">
                    <a:lumMod val="75000"/>
                  </a:schemeClr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5</a:t>
            </a:r>
            <a:r>
              <a:rPr lang="de-DE" sz="3200" b="1" dirty="0">
                <a:solidFill>
                  <a:schemeClr val="accent5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.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D56DF10-ACD5-984F-828A-02B14A17356C}"/>
              </a:ext>
            </a:extLst>
          </p:cNvPr>
          <p:cNvSpPr/>
          <p:nvPr/>
        </p:nvSpPr>
        <p:spPr>
          <a:xfrm>
            <a:off x="762001" y="1800466"/>
            <a:ext cx="2703318" cy="16143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 dirty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DA34CD6-DBDF-9E46-9284-5CFB876B07F6}"/>
              </a:ext>
            </a:extLst>
          </p:cNvPr>
          <p:cNvSpPr/>
          <p:nvPr/>
        </p:nvSpPr>
        <p:spPr>
          <a:xfrm>
            <a:off x="762000" y="1800466"/>
            <a:ext cx="68580" cy="161436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 dirty="0">
              <a:solidFill>
                <a:schemeClr val="tx2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4E65C334-044B-5C48-809E-E15548D5C6AA}"/>
              </a:ext>
            </a:extLst>
          </p:cNvPr>
          <p:cNvSpPr txBox="1"/>
          <p:nvPr/>
        </p:nvSpPr>
        <p:spPr>
          <a:xfrm>
            <a:off x="1351722" y="2009479"/>
            <a:ext cx="1669047" cy="33855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de-DE" sz="1600" b="1" dirty="0" err="1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Dependencies</a:t>
            </a:r>
            <a:endParaRPr lang="de-DE" sz="1600" b="1" dirty="0">
              <a:solidFill>
                <a:schemeClr val="tx2"/>
              </a:solidFill>
              <a:latin typeface="Montserrat Medium" panose="00000600000000000000" pitchFamily="2" charset="0"/>
              <a:ea typeface="League Spartan" charset="0"/>
              <a:cs typeface="Poppins" pitchFamily="2" charset="77"/>
            </a:endParaRPr>
          </a:p>
        </p:txBody>
      </p:sp>
      <p:sp>
        <p:nvSpPr>
          <p:cNvPr id="42" name="Subtitle 2">
            <a:extLst>
              <a:ext uri="{FF2B5EF4-FFF2-40B4-BE49-F238E27FC236}">
                <a16:creationId xmlns:a16="http://schemas.microsoft.com/office/drawing/2014/main" id="{E7218CCE-EB64-CD4A-A42A-71ABD036948B}"/>
              </a:ext>
            </a:extLst>
          </p:cNvPr>
          <p:cNvSpPr txBox="1">
            <a:spLocks/>
          </p:cNvSpPr>
          <p:nvPr/>
        </p:nvSpPr>
        <p:spPr>
          <a:xfrm>
            <a:off x="1707426" y="2395170"/>
            <a:ext cx="1701695" cy="943463"/>
          </a:xfrm>
          <a:prstGeom prst="rect">
            <a:avLst/>
          </a:prstGeom>
        </p:spPr>
        <p:txBody>
          <a:bodyPr vert="horz" wrap="square" lIns="45720" tIns="22860" rIns="45720" bIns="2286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750"/>
              </a:lnSpc>
            </a:pPr>
            <a:r>
              <a:rPr lang="en-US" sz="1000" dirty="0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Requires communication with administrative staff for booking approvals.</a:t>
            </a:r>
            <a:endParaRPr lang="de-DE" sz="1000" dirty="0">
              <a:solidFill>
                <a:schemeClr val="tx1"/>
              </a:solidFill>
              <a:latin typeface="Montserrat Medium" panose="00000600000000000000" pitchFamily="2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0C7CC85-7D0F-C343-A5DB-346E5328B0EB}"/>
              </a:ext>
            </a:extLst>
          </p:cNvPr>
          <p:cNvSpPr txBox="1"/>
          <p:nvPr/>
        </p:nvSpPr>
        <p:spPr>
          <a:xfrm>
            <a:off x="1078982" y="2315262"/>
            <a:ext cx="425116" cy="584775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de-DE" sz="3200" b="1" dirty="0">
                <a:solidFill>
                  <a:schemeClr val="accent3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1.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582EC2-063B-4578-AD4F-3CDD1E5C5D5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573B97F7-0095-47D2-94DF-CC0764FDBF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urrent</a:t>
            </a:r>
            <a:r>
              <a:rPr lang="de-DE" dirty="0"/>
              <a:t> Challenges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9EF1F59-FFA9-47D9-84CD-1CD1C7D5453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E3E9AF-4F16-442A-91B0-5A2039A5C2F3}" type="slidenum">
              <a:rPr lang="de-DE" smtClean="0"/>
              <a:t>4</a:t>
            </a:fld>
            <a:endParaRPr lang="de-DE"/>
          </a:p>
        </p:txBody>
      </p:sp>
      <p:pic>
        <p:nvPicPr>
          <p:cNvPr id="2" name="Picture 6" descr="Organic flat people asking questions">
            <a:extLst>
              <a:ext uri="{FF2B5EF4-FFF2-40B4-BE49-F238E27FC236}">
                <a16:creationId xmlns:a16="http://schemas.microsoft.com/office/drawing/2014/main" id="{91DADFFE-024E-49C6-4861-BE9BCD5347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6678" y="4329233"/>
            <a:ext cx="2703318" cy="16143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05387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0A575A9-DDF8-694D-9D20-C7F2E21BF414}"/>
              </a:ext>
            </a:extLst>
          </p:cNvPr>
          <p:cNvSpPr/>
          <p:nvPr/>
        </p:nvSpPr>
        <p:spPr>
          <a:xfrm>
            <a:off x="782005" y="1814633"/>
            <a:ext cx="2703318" cy="16143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193706F-BD69-9A41-A191-0337AD933C49}"/>
              </a:ext>
            </a:extLst>
          </p:cNvPr>
          <p:cNvSpPr/>
          <p:nvPr/>
        </p:nvSpPr>
        <p:spPr>
          <a:xfrm>
            <a:off x="782005" y="1814633"/>
            <a:ext cx="68580" cy="16143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 dirty="0">
              <a:solidFill>
                <a:schemeClr val="tx2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F1F08F-EE9C-554F-A670-1C2EA3FCAD59}"/>
              </a:ext>
            </a:extLst>
          </p:cNvPr>
          <p:cNvSpPr txBox="1"/>
          <p:nvPr/>
        </p:nvSpPr>
        <p:spPr>
          <a:xfrm>
            <a:off x="1420861" y="2023646"/>
            <a:ext cx="1931939" cy="338554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r>
              <a:rPr lang="de-DE" sz="1600" b="1" dirty="0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Online Bookings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27FC62CA-58E7-4443-A500-14D4DABD918F}"/>
              </a:ext>
            </a:extLst>
          </p:cNvPr>
          <p:cNvSpPr txBox="1">
            <a:spLocks/>
          </p:cNvSpPr>
          <p:nvPr/>
        </p:nvSpPr>
        <p:spPr>
          <a:xfrm>
            <a:off x="1727432" y="2444729"/>
            <a:ext cx="1590118" cy="943463"/>
          </a:xfrm>
          <a:prstGeom prst="rect">
            <a:avLst/>
          </a:prstGeom>
        </p:spPr>
        <p:txBody>
          <a:bodyPr vert="horz" wrap="square" lIns="45720" tIns="22860" rIns="45720" bIns="2286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750"/>
              </a:lnSpc>
            </a:pPr>
            <a:r>
              <a:rPr lang="en-US" sz="1000" dirty="0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Provides a user-friendly interface for room  and booking management.</a:t>
            </a:r>
            <a:endParaRPr lang="de-DE" sz="1000" dirty="0">
              <a:solidFill>
                <a:schemeClr val="tx1"/>
              </a:solidFill>
              <a:latin typeface="Montserrat Medium" panose="00000600000000000000" pitchFamily="2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8146A1-9CBF-CB4A-8D60-552C8C87F6BF}"/>
              </a:ext>
            </a:extLst>
          </p:cNvPr>
          <p:cNvSpPr txBox="1"/>
          <p:nvPr/>
        </p:nvSpPr>
        <p:spPr>
          <a:xfrm>
            <a:off x="1098988" y="2329429"/>
            <a:ext cx="425116" cy="584775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de-DE" sz="3200" b="1" dirty="0">
                <a:solidFill>
                  <a:schemeClr val="accent1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1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D12FDF8-4B39-3344-A782-1E5B5D614200}"/>
              </a:ext>
            </a:extLst>
          </p:cNvPr>
          <p:cNvSpPr/>
          <p:nvPr/>
        </p:nvSpPr>
        <p:spPr>
          <a:xfrm>
            <a:off x="782005" y="4329233"/>
            <a:ext cx="2703318" cy="16143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7E02D11-C608-ED45-8792-4410CE1E1214}"/>
              </a:ext>
            </a:extLst>
          </p:cNvPr>
          <p:cNvSpPr/>
          <p:nvPr/>
        </p:nvSpPr>
        <p:spPr>
          <a:xfrm>
            <a:off x="782005" y="4329233"/>
            <a:ext cx="68580" cy="161436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 dirty="0">
              <a:solidFill>
                <a:schemeClr val="tx2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8F09A68-6E53-4C41-AE56-9202A93E3D78}"/>
              </a:ext>
            </a:extLst>
          </p:cNvPr>
          <p:cNvSpPr txBox="1"/>
          <p:nvPr/>
        </p:nvSpPr>
        <p:spPr>
          <a:xfrm>
            <a:off x="1423208" y="4571250"/>
            <a:ext cx="1737976" cy="33855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de-DE" sz="1600" b="1" dirty="0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Space </a:t>
            </a:r>
            <a:r>
              <a:rPr lang="de-DE" sz="1600" b="1" dirty="0" err="1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Efficieny</a:t>
            </a:r>
            <a:endParaRPr lang="de-DE" sz="1600" b="1" dirty="0">
              <a:solidFill>
                <a:schemeClr val="tx2"/>
              </a:solidFill>
              <a:latin typeface="Montserrat Medium" panose="00000600000000000000" pitchFamily="2" charset="0"/>
              <a:ea typeface="League Spartan" charset="0"/>
              <a:cs typeface="Poppins" pitchFamily="2" charset="77"/>
            </a:endParaRP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7ED02702-1082-444F-A80B-BC8E4B37F491}"/>
              </a:ext>
            </a:extLst>
          </p:cNvPr>
          <p:cNvSpPr txBox="1">
            <a:spLocks/>
          </p:cNvSpPr>
          <p:nvPr/>
        </p:nvSpPr>
        <p:spPr>
          <a:xfrm>
            <a:off x="1727432" y="4959329"/>
            <a:ext cx="1590118" cy="481799"/>
          </a:xfrm>
          <a:prstGeom prst="rect">
            <a:avLst/>
          </a:prstGeom>
        </p:spPr>
        <p:txBody>
          <a:bodyPr vert="horz" wrap="square" lIns="45720" tIns="22860" rIns="45720" bIns="2286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750"/>
              </a:lnSpc>
            </a:pPr>
            <a:r>
              <a:rPr lang="en-US" sz="1000" dirty="0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Efficient use of office space.</a:t>
            </a:r>
            <a:endParaRPr lang="de-DE" sz="1000" dirty="0">
              <a:solidFill>
                <a:schemeClr val="tx1"/>
              </a:solidFill>
              <a:latin typeface="Montserrat Medium" panose="00000600000000000000" pitchFamily="2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86933A3-07FB-5046-BE63-855E29EDE268}"/>
              </a:ext>
            </a:extLst>
          </p:cNvPr>
          <p:cNvSpPr txBox="1"/>
          <p:nvPr/>
        </p:nvSpPr>
        <p:spPr>
          <a:xfrm>
            <a:off x="1038874" y="4844029"/>
            <a:ext cx="545342" cy="584775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de-DE" sz="3200" b="1" dirty="0">
                <a:solidFill>
                  <a:schemeClr val="accent4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4.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72B6B84-50B9-274F-81BC-B0D4CA47BF79}"/>
              </a:ext>
            </a:extLst>
          </p:cNvPr>
          <p:cNvSpPr/>
          <p:nvPr/>
        </p:nvSpPr>
        <p:spPr>
          <a:xfrm>
            <a:off x="4744342" y="1814633"/>
            <a:ext cx="2703318" cy="16143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81A76C2-4329-014C-B517-93C49068FE6E}"/>
              </a:ext>
            </a:extLst>
          </p:cNvPr>
          <p:cNvSpPr/>
          <p:nvPr/>
        </p:nvSpPr>
        <p:spPr>
          <a:xfrm>
            <a:off x="4744341" y="1814633"/>
            <a:ext cx="68580" cy="16143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 dirty="0">
              <a:solidFill>
                <a:schemeClr val="tx2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DF1B26C-9A81-FC4C-8AEA-84B8E8147CE3}"/>
              </a:ext>
            </a:extLst>
          </p:cNvPr>
          <p:cNvSpPr txBox="1"/>
          <p:nvPr/>
        </p:nvSpPr>
        <p:spPr>
          <a:xfrm>
            <a:off x="5318511" y="2023646"/>
            <a:ext cx="2066591" cy="33855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de-DE" sz="1600" b="1" dirty="0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Booking </a:t>
            </a:r>
            <a:r>
              <a:rPr lang="de-DE" sz="1600" b="1" dirty="0" err="1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Overview</a:t>
            </a:r>
            <a:endParaRPr lang="de-DE" sz="1600" b="1" dirty="0">
              <a:solidFill>
                <a:schemeClr val="tx2"/>
              </a:solidFill>
              <a:latin typeface="Montserrat Medium" panose="00000600000000000000" pitchFamily="2" charset="0"/>
              <a:ea typeface="League Spartan" charset="0"/>
              <a:cs typeface="Poppins" pitchFamily="2" charset="77"/>
            </a:endParaRP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21C5D0BD-2573-CF45-A0B6-17C9037BC00C}"/>
              </a:ext>
            </a:extLst>
          </p:cNvPr>
          <p:cNvSpPr txBox="1">
            <a:spLocks/>
          </p:cNvSpPr>
          <p:nvPr/>
        </p:nvSpPr>
        <p:spPr>
          <a:xfrm>
            <a:off x="5638800" y="2409337"/>
            <a:ext cx="1590118" cy="943463"/>
          </a:xfrm>
          <a:prstGeom prst="rect">
            <a:avLst/>
          </a:prstGeom>
        </p:spPr>
        <p:txBody>
          <a:bodyPr vert="horz" wrap="square" lIns="45720" tIns="22860" rIns="45720" bIns="2286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750"/>
              </a:lnSpc>
            </a:pPr>
            <a:r>
              <a:rPr lang="en-US" sz="1000" dirty="0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Offers centralized overview of all booking in different time frames.</a:t>
            </a:r>
            <a:endParaRPr lang="de-DE" sz="1000" dirty="0">
              <a:solidFill>
                <a:schemeClr val="tx1"/>
              </a:solidFill>
              <a:latin typeface="Montserrat Medium" panose="00000600000000000000" pitchFamily="2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F943FDD-EC8C-194D-8618-7FC551759E72}"/>
              </a:ext>
            </a:extLst>
          </p:cNvPr>
          <p:cNvSpPr txBox="1"/>
          <p:nvPr/>
        </p:nvSpPr>
        <p:spPr>
          <a:xfrm>
            <a:off x="5020447" y="2329429"/>
            <a:ext cx="506869" cy="584775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de-DE" sz="3200" b="1" dirty="0">
                <a:solidFill>
                  <a:schemeClr val="accent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2.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E75CD65-A8C6-3641-9952-E18C39EB9EBB}"/>
              </a:ext>
            </a:extLst>
          </p:cNvPr>
          <p:cNvSpPr/>
          <p:nvPr/>
        </p:nvSpPr>
        <p:spPr>
          <a:xfrm>
            <a:off x="4744342" y="4329233"/>
            <a:ext cx="2703318" cy="16143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255B249-9849-E74A-948D-EC66D814ABEE}"/>
              </a:ext>
            </a:extLst>
          </p:cNvPr>
          <p:cNvSpPr/>
          <p:nvPr/>
        </p:nvSpPr>
        <p:spPr>
          <a:xfrm>
            <a:off x="4744341" y="4329233"/>
            <a:ext cx="68580" cy="161436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 dirty="0">
              <a:solidFill>
                <a:schemeClr val="tx2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CC73FA0D-EAFB-E24D-AFB3-B286488E42B2}"/>
              </a:ext>
            </a:extLst>
          </p:cNvPr>
          <p:cNvSpPr txBox="1"/>
          <p:nvPr/>
        </p:nvSpPr>
        <p:spPr>
          <a:xfrm>
            <a:off x="5334000" y="4571250"/>
            <a:ext cx="1854995" cy="33855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de-DE" sz="1600" b="1" dirty="0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Unique Booking</a:t>
            </a:r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03299D72-7701-7045-9737-06E3AF0049FB}"/>
              </a:ext>
            </a:extLst>
          </p:cNvPr>
          <p:cNvSpPr txBox="1">
            <a:spLocks/>
          </p:cNvSpPr>
          <p:nvPr/>
        </p:nvSpPr>
        <p:spPr>
          <a:xfrm>
            <a:off x="5689768" y="4959329"/>
            <a:ext cx="1590118" cy="481799"/>
          </a:xfrm>
          <a:prstGeom prst="rect">
            <a:avLst/>
          </a:prstGeom>
        </p:spPr>
        <p:txBody>
          <a:bodyPr vert="horz" wrap="square" lIns="45720" tIns="22860" rIns="45720" bIns="2286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750"/>
              </a:lnSpc>
            </a:pPr>
            <a:r>
              <a:rPr lang="en-US" sz="1000" dirty="0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Prevents double bookings by validation.</a:t>
            </a:r>
            <a:endParaRPr lang="de-DE" sz="1000" dirty="0">
              <a:solidFill>
                <a:schemeClr val="tx1"/>
              </a:solidFill>
              <a:latin typeface="Montserrat Medium" panose="00000600000000000000" pitchFamily="2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DEAD9EF-75D4-374B-A551-F7A7C45187CD}"/>
              </a:ext>
            </a:extLst>
          </p:cNvPr>
          <p:cNvSpPr txBox="1"/>
          <p:nvPr/>
        </p:nvSpPr>
        <p:spPr>
          <a:xfrm>
            <a:off x="5020447" y="4844029"/>
            <a:ext cx="506870" cy="584775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de-DE" sz="3200" b="1" dirty="0">
                <a:solidFill>
                  <a:schemeClr val="accent5">
                    <a:lumMod val="75000"/>
                  </a:schemeClr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5</a:t>
            </a:r>
            <a:r>
              <a:rPr lang="de-DE" sz="3200" b="1" dirty="0">
                <a:solidFill>
                  <a:schemeClr val="accent5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.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D56DF10-ACD5-984F-828A-02B14A17356C}"/>
              </a:ext>
            </a:extLst>
          </p:cNvPr>
          <p:cNvSpPr/>
          <p:nvPr/>
        </p:nvSpPr>
        <p:spPr>
          <a:xfrm>
            <a:off x="8706679" y="1814633"/>
            <a:ext cx="2703318" cy="16143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 dirty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DA34CD6-DBDF-9E46-9284-5CFB876B07F6}"/>
              </a:ext>
            </a:extLst>
          </p:cNvPr>
          <p:cNvSpPr/>
          <p:nvPr/>
        </p:nvSpPr>
        <p:spPr>
          <a:xfrm>
            <a:off x="8706678" y="1814633"/>
            <a:ext cx="68580" cy="161436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 dirty="0">
              <a:solidFill>
                <a:schemeClr val="tx2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4E65C334-044B-5C48-809E-E15548D5C6AA}"/>
              </a:ext>
            </a:extLst>
          </p:cNvPr>
          <p:cNvSpPr txBox="1"/>
          <p:nvPr/>
        </p:nvSpPr>
        <p:spPr>
          <a:xfrm>
            <a:off x="9296400" y="2023646"/>
            <a:ext cx="1435008" cy="33855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de-DE" sz="1600" b="1" dirty="0" err="1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Productivity</a:t>
            </a:r>
            <a:endParaRPr lang="de-DE" sz="1600" b="1" dirty="0">
              <a:solidFill>
                <a:schemeClr val="tx2"/>
              </a:solidFill>
              <a:latin typeface="Montserrat Medium" panose="00000600000000000000" pitchFamily="2" charset="0"/>
              <a:ea typeface="League Spartan" charset="0"/>
              <a:cs typeface="Poppins" pitchFamily="2" charset="77"/>
            </a:endParaRPr>
          </a:p>
        </p:txBody>
      </p:sp>
      <p:sp>
        <p:nvSpPr>
          <p:cNvPr id="42" name="Subtitle 2">
            <a:extLst>
              <a:ext uri="{FF2B5EF4-FFF2-40B4-BE49-F238E27FC236}">
                <a16:creationId xmlns:a16="http://schemas.microsoft.com/office/drawing/2014/main" id="{E7218CCE-EB64-CD4A-A42A-71ABD036948B}"/>
              </a:ext>
            </a:extLst>
          </p:cNvPr>
          <p:cNvSpPr txBox="1">
            <a:spLocks/>
          </p:cNvSpPr>
          <p:nvPr/>
        </p:nvSpPr>
        <p:spPr>
          <a:xfrm>
            <a:off x="9652104" y="2409337"/>
            <a:ext cx="1701695" cy="943463"/>
          </a:xfrm>
          <a:prstGeom prst="rect">
            <a:avLst/>
          </a:prstGeom>
        </p:spPr>
        <p:txBody>
          <a:bodyPr vert="horz" wrap="square" lIns="45720" tIns="22860" rIns="45720" bIns="2286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750"/>
              </a:lnSpc>
            </a:pPr>
            <a:r>
              <a:rPr lang="en-US" sz="1000" dirty="0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Reduces the workload of team leaders and administrative staff through automation.</a:t>
            </a:r>
            <a:endParaRPr lang="de-DE" sz="1000" dirty="0">
              <a:solidFill>
                <a:schemeClr val="tx1"/>
              </a:solidFill>
              <a:latin typeface="Montserrat Medium" panose="00000600000000000000" pitchFamily="2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0C7CC85-7D0F-C343-A5DB-346E5328B0EB}"/>
              </a:ext>
            </a:extLst>
          </p:cNvPr>
          <p:cNvSpPr txBox="1"/>
          <p:nvPr/>
        </p:nvSpPr>
        <p:spPr>
          <a:xfrm>
            <a:off x="8982783" y="2329429"/>
            <a:ext cx="506870" cy="584775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de-DE" sz="3200" b="1" dirty="0">
                <a:solidFill>
                  <a:schemeClr val="accent3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3.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582EC2-063B-4578-AD4F-3CDD1E5C5D5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573B97F7-0095-47D2-94DF-CC0764FDBF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olution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9EF1F59-FFA9-47D9-84CD-1CD1C7D5453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E3E9AF-4F16-442A-91B0-5A2039A5C2F3}" type="slidenum">
              <a:rPr lang="de-DE" smtClean="0"/>
              <a:t>5</a:t>
            </a:fld>
            <a:endParaRPr lang="de-DE"/>
          </a:p>
        </p:txBody>
      </p:sp>
      <p:pic>
        <p:nvPicPr>
          <p:cNvPr id="22" name="Picture 2" descr="Think outside the box concept illustration">
            <a:extLst>
              <a:ext uri="{FF2B5EF4-FFF2-40B4-BE49-F238E27FC236}">
                <a16:creationId xmlns:a16="http://schemas.microsoft.com/office/drawing/2014/main" id="{A974478F-226C-404A-E01C-A41B5E7DC8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6679" y="4329232"/>
            <a:ext cx="2647120" cy="1614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17611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5">
            <a:extLst>
              <a:ext uri="{FF2B5EF4-FFF2-40B4-BE49-F238E27FC236}">
                <a16:creationId xmlns:a16="http://schemas.microsoft.com/office/drawing/2014/main" id="{90051B68-682F-A042-81FC-EB1F2336F9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90800" y="2702627"/>
            <a:ext cx="1277107" cy="464152"/>
          </a:xfrm>
          <a:custGeom>
            <a:avLst/>
            <a:gdLst>
              <a:gd name="T0" fmla="*/ 260 w 2052"/>
              <a:gd name="T1" fmla="*/ 341 h 746"/>
              <a:gd name="T2" fmla="*/ 25 w 2052"/>
              <a:gd name="T3" fmla="*/ 67 h 746"/>
              <a:gd name="T4" fmla="*/ 25 w 2052"/>
              <a:gd name="T5" fmla="*/ 67 h 746"/>
              <a:gd name="T6" fmla="*/ 55 w 2052"/>
              <a:gd name="T7" fmla="*/ 0 h 746"/>
              <a:gd name="T8" fmla="*/ 1722 w 2052"/>
              <a:gd name="T9" fmla="*/ 0 h 746"/>
              <a:gd name="T10" fmla="*/ 1722 w 2052"/>
              <a:gd name="T11" fmla="*/ 0 h 746"/>
              <a:gd name="T12" fmla="*/ 1752 w 2052"/>
              <a:gd name="T13" fmla="*/ 14 h 746"/>
              <a:gd name="T14" fmla="*/ 2038 w 2052"/>
              <a:gd name="T15" fmla="*/ 341 h 746"/>
              <a:gd name="T16" fmla="*/ 2038 w 2052"/>
              <a:gd name="T17" fmla="*/ 341 h 746"/>
              <a:gd name="T18" fmla="*/ 2038 w 2052"/>
              <a:gd name="T19" fmla="*/ 394 h 746"/>
              <a:gd name="T20" fmla="*/ 1752 w 2052"/>
              <a:gd name="T21" fmla="*/ 730 h 746"/>
              <a:gd name="T22" fmla="*/ 1752 w 2052"/>
              <a:gd name="T23" fmla="*/ 730 h 746"/>
              <a:gd name="T24" fmla="*/ 1721 w 2052"/>
              <a:gd name="T25" fmla="*/ 745 h 746"/>
              <a:gd name="T26" fmla="*/ 54 w 2052"/>
              <a:gd name="T27" fmla="*/ 745 h 746"/>
              <a:gd name="T28" fmla="*/ 54 w 2052"/>
              <a:gd name="T29" fmla="*/ 745 h 746"/>
              <a:gd name="T30" fmla="*/ 23 w 2052"/>
              <a:gd name="T31" fmla="*/ 678 h 746"/>
              <a:gd name="T32" fmla="*/ 260 w 2052"/>
              <a:gd name="T33" fmla="*/ 394 h 746"/>
              <a:gd name="T34" fmla="*/ 260 w 2052"/>
              <a:gd name="T35" fmla="*/ 394 h 746"/>
              <a:gd name="T36" fmla="*/ 260 w 2052"/>
              <a:gd name="T37" fmla="*/ 341 h 7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052" h="746">
                <a:moveTo>
                  <a:pt x="260" y="341"/>
                </a:moveTo>
                <a:lnTo>
                  <a:pt x="25" y="67"/>
                </a:lnTo>
                <a:lnTo>
                  <a:pt x="25" y="67"/>
                </a:lnTo>
                <a:cubicBezTo>
                  <a:pt x="2" y="41"/>
                  <a:pt x="21" y="0"/>
                  <a:pt x="55" y="0"/>
                </a:cubicBezTo>
                <a:lnTo>
                  <a:pt x="1722" y="0"/>
                </a:lnTo>
                <a:lnTo>
                  <a:pt x="1722" y="0"/>
                </a:lnTo>
                <a:cubicBezTo>
                  <a:pt x="1733" y="0"/>
                  <a:pt x="1744" y="6"/>
                  <a:pt x="1752" y="14"/>
                </a:cubicBezTo>
                <a:lnTo>
                  <a:pt x="2038" y="341"/>
                </a:lnTo>
                <a:lnTo>
                  <a:pt x="2038" y="341"/>
                </a:lnTo>
                <a:cubicBezTo>
                  <a:pt x="2051" y="356"/>
                  <a:pt x="2051" y="379"/>
                  <a:pt x="2038" y="394"/>
                </a:cubicBezTo>
                <a:lnTo>
                  <a:pt x="1752" y="730"/>
                </a:lnTo>
                <a:lnTo>
                  <a:pt x="1752" y="730"/>
                </a:lnTo>
                <a:cubicBezTo>
                  <a:pt x="1744" y="739"/>
                  <a:pt x="1733" y="745"/>
                  <a:pt x="1721" y="745"/>
                </a:cubicBezTo>
                <a:lnTo>
                  <a:pt x="54" y="745"/>
                </a:lnTo>
                <a:lnTo>
                  <a:pt x="54" y="745"/>
                </a:lnTo>
                <a:cubicBezTo>
                  <a:pt x="19" y="745"/>
                  <a:pt x="0" y="704"/>
                  <a:pt x="23" y="678"/>
                </a:cubicBezTo>
                <a:lnTo>
                  <a:pt x="260" y="394"/>
                </a:lnTo>
                <a:lnTo>
                  <a:pt x="260" y="394"/>
                </a:lnTo>
                <a:cubicBezTo>
                  <a:pt x="273" y="379"/>
                  <a:pt x="273" y="356"/>
                  <a:pt x="260" y="341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3266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2C0552F-D0EA-F340-A5E3-1E1B23BDFD13}"/>
              </a:ext>
            </a:extLst>
          </p:cNvPr>
          <p:cNvSpPr txBox="1"/>
          <p:nvPr/>
        </p:nvSpPr>
        <p:spPr>
          <a:xfrm>
            <a:off x="2979925" y="2703871"/>
            <a:ext cx="498856" cy="46166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 dirty="0">
                <a:solidFill>
                  <a:schemeClr val="bg1"/>
                </a:solidFill>
                <a:latin typeface="Montserrat Medium" panose="00000600000000000000" pitchFamily="2" charset="0"/>
                <a:cs typeface="Poppins" pitchFamily="2" charset="77"/>
              </a:rPr>
              <a:t>01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E2DBF5B5-44E4-9C4A-B7A8-62C196A8945A}"/>
              </a:ext>
            </a:extLst>
          </p:cNvPr>
          <p:cNvSpPr txBox="1">
            <a:spLocks/>
          </p:cNvSpPr>
          <p:nvPr/>
        </p:nvSpPr>
        <p:spPr>
          <a:xfrm>
            <a:off x="4513856" y="3076428"/>
            <a:ext cx="4875884" cy="488147"/>
          </a:xfrm>
          <a:prstGeom prst="rect">
            <a:avLst/>
          </a:prstGeom>
        </p:spPr>
        <p:txBody>
          <a:bodyPr vert="horz" wrap="square" lIns="4572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750"/>
              </a:lnSpc>
            </a:pPr>
            <a:r>
              <a:rPr lang="en-US" sz="1200" dirty="0" err="1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Angular’s</a:t>
            </a:r>
            <a:r>
              <a:rPr lang="en-US" sz="1200" dirty="0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 reusable components and client-side validation help streamline development, reducing time-to-market.</a:t>
            </a:r>
            <a:endParaRPr lang="de-DE" sz="1200" dirty="0">
              <a:solidFill>
                <a:schemeClr val="tx1"/>
              </a:solidFill>
              <a:latin typeface="Montserrat Medium" panose="00000600000000000000" pitchFamily="2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D98026F-A297-F548-AAB9-B3799AC1DCFD}"/>
              </a:ext>
            </a:extLst>
          </p:cNvPr>
          <p:cNvSpPr txBox="1"/>
          <p:nvPr/>
        </p:nvSpPr>
        <p:spPr>
          <a:xfrm>
            <a:off x="4302398" y="2739296"/>
            <a:ext cx="2284600" cy="33855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1600" b="1" dirty="0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Faster Development</a:t>
            </a:r>
            <a:endParaRPr lang="de-DE" sz="1600" b="1" dirty="0">
              <a:solidFill>
                <a:schemeClr val="tx2"/>
              </a:solidFill>
              <a:latin typeface="Montserrat Medium" panose="00000600000000000000" pitchFamily="2" charset="0"/>
              <a:ea typeface="League Spartan" charset="0"/>
              <a:cs typeface="Poppins" pitchFamily="2" charset="77"/>
            </a:endParaRPr>
          </a:p>
        </p:txBody>
      </p:sp>
      <p:sp>
        <p:nvSpPr>
          <p:cNvPr id="2" name="Freeform 2">
            <a:extLst>
              <a:ext uri="{FF2B5EF4-FFF2-40B4-BE49-F238E27FC236}">
                <a16:creationId xmlns:a16="http://schemas.microsoft.com/office/drawing/2014/main" id="{6076B468-3628-A34E-8D62-2526308D83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90800" y="4015458"/>
            <a:ext cx="1277107" cy="464152"/>
          </a:xfrm>
          <a:custGeom>
            <a:avLst/>
            <a:gdLst>
              <a:gd name="T0" fmla="*/ 260 w 2052"/>
              <a:gd name="T1" fmla="*/ 340 h 744"/>
              <a:gd name="T2" fmla="*/ 25 w 2052"/>
              <a:gd name="T3" fmla="*/ 67 h 744"/>
              <a:gd name="T4" fmla="*/ 25 w 2052"/>
              <a:gd name="T5" fmla="*/ 67 h 744"/>
              <a:gd name="T6" fmla="*/ 55 w 2052"/>
              <a:gd name="T7" fmla="*/ 0 h 744"/>
              <a:gd name="T8" fmla="*/ 1722 w 2052"/>
              <a:gd name="T9" fmla="*/ 0 h 744"/>
              <a:gd name="T10" fmla="*/ 1722 w 2052"/>
              <a:gd name="T11" fmla="*/ 0 h 744"/>
              <a:gd name="T12" fmla="*/ 1752 w 2052"/>
              <a:gd name="T13" fmla="*/ 13 h 744"/>
              <a:gd name="T14" fmla="*/ 2038 w 2052"/>
              <a:gd name="T15" fmla="*/ 340 h 744"/>
              <a:gd name="T16" fmla="*/ 2038 w 2052"/>
              <a:gd name="T17" fmla="*/ 340 h 744"/>
              <a:gd name="T18" fmla="*/ 2038 w 2052"/>
              <a:gd name="T19" fmla="*/ 393 h 744"/>
              <a:gd name="T20" fmla="*/ 1752 w 2052"/>
              <a:gd name="T21" fmla="*/ 729 h 744"/>
              <a:gd name="T22" fmla="*/ 1752 w 2052"/>
              <a:gd name="T23" fmla="*/ 729 h 744"/>
              <a:gd name="T24" fmla="*/ 1721 w 2052"/>
              <a:gd name="T25" fmla="*/ 743 h 744"/>
              <a:gd name="T26" fmla="*/ 54 w 2052"/>
              <a:gd name="T27" fmla="*/ 743 h 744"/>
              <a:gd name="T28" fmla="*/ 54 w 2052"/>
              <a:gd name="T29" fmla="*/ 743 h 744"/>
              <a:gd name="T30" fmla="*/ 23 w 2052"/>
              <a:gd name="T31" fmla="*/ 677 h 744"/>
              <a:gd name="T32" fmla="*/ 260 w 2052"/>
              <a:gd name="T33" fmla="*/ 393 h 744"/>
              <a:gd name="T34" fmla="*/ 260 w 2052"/>
              <a:gd name="T35" fmla="*/ 393 h 744"/>
              <a:gd name="T36" fmla="*/ 260 w 2052"/>
              <a:gd name="T37" fmla="*/ 340 h 7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052" h="744">
                <a:moveTo>
                  <a:pt x="260" y="340"/>
                </a:moveTo>
                <a:lnTo>
                  <a:pt x="25" y="67"/>
                </a:lnTo>
                <a:lnTo>
                  <a:pt x="25" y="67"/>
                </a:lnTo>
                <a:cubicBezTo>
                  <a:pt x="2" y="41"/>
                  <a:pt x="21" y="0"/>
                  <a:pt x="55" y="0"/>
                </a:cubicBezTo>
                <a:lnTo>
                  <a:pt x="1722" y="0"/>
                </a:lnTo>
                <a:lnTo>
                  <a:pt x="1722" y="0"/>
                </a:lnTo>
                <a:cubicBezTo>
                  <a:pt x="1733" y="0"/>
                  <a:pt x="1744" y="5"/>
                  <a:pt x="1752" y="13"/>
                </a:cubicBezTo>
                <a:lnTo>
                  <a:pt x="2038" y="340"/>
                </a:lnTo>
                <a:lnTo>
                  <a:pt x="2038" y="340"/>
                </a:lnTo>
                <a:cubicBezTo>
                  <a:pt x="2051" y="355"/>
                  <a:pt x="2051" y="378"/>
                  <a:pt x="2038" y="393"/>
                </a:cubicBezTo>
                <a:lnTo>
                  <a:pt x="1752" y="729"/>
                </a:lnTo>
                <a:lnTo>
                  <a:pt x="1752" y="729"/>
                </a:lnTo>
                <a:cubicBezTo>
                  <a:pt x="1744" y="738"/>
                  <a:pt x="1733" y="743"/>
                  <a:pt x="1721" y="743"/>
                </a:cubicBezTo>
                <a:lnTo>
                  <a:pt x="54" y="743"/>
                </a:lnTo>
                <a:lnTo>
                  <a:pt x="54" y="743"/>
                </a:lnTo>
                <a:cubicBezTo>
                  <a:pt x="19" y="743"/>
                  <a:pt x="0" y="703"/>
                  <a:pt x="23" y="677"/>
                </a:cubicBezTo>
                <a:lnTo>
                  <a:pt x="260" y="393"/>
                </a:lnTo>
                <a:lnTo>
                  <a:pt x="260" y="393"/>
                </a:lnTo>
                <a:cubicBezTo>
                  <a:pt x="273" y="378"/>
                  <a:pt x="273" y="355"/>
                  <a:pt x="260" y="340"/>
                </a:cubicBez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3266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6C4BB33-18F5-D14F-9E0A-D78AD10A810D}"/>
              </a:ext>
            </a:extLst>
          </p:cNvPr>
          <p:cNvSpPr txBox="1"/>
          <p:nvPr/>
        </p:nvSpPr>
        <p:spPr>
          <a:xfrm>
            <a:off x="2949469" y="4016702"/>
            <a:ext cx="559769" cy="46166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>
                <a:solidFill>
                  <a:schemeClr val="bg1"/>
                </a:solidFill>
                <a:latin typeface="Montserrat Medium" panose="00000600000000000000" pitchFamily="2" charset="0"/>
                <a:cs typeface="Poppins" pitchFamily="2" charset="77"/>
              </a:rPr>
              <a:t>02</a:t>
            </a:r>
            <a:endParaRPr lang="de-DE" sz="2400" b="1" dirty="0">
              <a:solidFill>
                <a:schemeClr val="bg1"/>
              </a:solidFill>
              <a:latin typeface="Montserrat Medium" panose="00000600000000000000" pitchFamily="2" charset="0"/>
              <a:cs typeface="Poppins" pitchFamily="2" charset="77"/>
            </a:endParaRP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07CB5B4A-1533-8446-BCED-DC843F0597ED}"/>
              </a:ext>
            </a:extLst>
          </p:cNvPr>
          <p:cNvSpPr txBox="1">
            <a:spLocks/>
          </p:cNvSpPr>
          <p:nvPr/>
        </p:nvSpPr>
        <p:spPr>
          <a:xfrm>
            <a:off x="4513856" y="4389259"/>
            <a:ext cx="5087344" cy="488147"/>
          </a:xfrm>
          <a:prstGeom prst="rect">
            <a:avLst/>
          </a:prstGeom>
        </p:spPr>
        <p:txBody>
          <a:bodyPr vert="horz" wrap="square" lIns="4572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750"/>
              </a:lnSpc>
            </a:pPr>
            <a:r>
              <a:rPr lang="en-US" sz="1200" dirty="0" err="1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Angular's</a:t>
            </a:r>
            <a:r>
              <a:rPr lang="en-US" sz="1200" dirty="0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 architecture lowers maintenance costs and ensuring scalability for future growth.</a:t>
            </a:r>
            <a:endParaRPr lang="de-DE" sz="1200" dirty="0">
              <a:solidFill>
                <a:schemeClr val="tx1"/>
              </a:solidFill>
              <a:latin typeface="Montserrat Medium" panose="00000600000000000000" pitchFamily="2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E7EAAEF-AF19-AE4F-B6A7-7AD62D9091B7}"/>
              </a:ext>
            </a:extLst>
          </p:cNvPr>
          <p:cNvSpPr txBox="1"/>
          <p:nvPr/>
        </p:nvSpPr>
        <p:spPr>
          <a:xfrm>
            <a:off x="4302398" y="4052127"/>
            <a:ext cx="1609736" cy="33855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de-DE" sz="1600" b="1" dirty="0" err="1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Cost-Effective</a:t>
            </a:r>
            <a:endParaRPr lang="de-DE" sz="1600" b="1" dirty="0">
              <a:solidFill>
                <a:schemeClr val="tx2"/>
              </a:solidFill>
              <a:latin typeface="Montserrat Medium" panose="00000600000000000000" pitchFamily="2" charset="0"/>
              <a:ea typeface="League Spartan" charset="0"/>
              <a:cs typeface="Poppins" pitchFamily="2" charset="77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CCFED12-2297-7445-8666-39EB6704EDD9}"/>
              </a:ext>
            </a:extLst>
          </p:cNvPr>
          <p:cNvSpPr txBox="1"/>
          <p:nvPr/>
        </p:nvSpPr>
        <p:spPr>
          <a:xfrm>
            <a:off x="2949469" y="5329535"/>
            <a:ext cx="559769" cy="46166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>
                <a:solidFill>
                  <a:schemeClr val="bg1"/>
                </a:solidFill>
                <a:latin typeface="Montserrat Medium" panose="00000600000000000000" pitchFamily="2" charset="0"/>
                <a:cs typeface="Poppins" pitchFamily="2" charset="77"/>
              </a:rPr>
              <a:t>03</a:t>
            </a:r>
            <a:endParaRPr lang="de-DE" sz="2400" b="1" dirty="0">
              <a:solidFill>
                <a:schemeClr val="bg1"/>
              </a:solidFill>
              <a:latin typeface="Montserrat Medium" panose="00000600000000000000" pitchFamily="2" charset="0"/>
              <a:cs typeface="Poppins" pitchFamily="2" charset="7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4092E67-EDFE-A949-9D8E-3E120C9C449A}"/>
              </a:ext>
            </a:extLst>
          </p:cNvPr>
          <p:cNvSpPr txBox="1"/>
          <p:nvPr/>
        </p:nvSpPr>
        <p:spPr>
          <a:xfrm>
            <a:off x="3146501" y="5997139"/>
            <a:ext cx="588624" cy="46166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>
                <a:solidFill>
                  <a:schemeClr val="bg1"/>
                </a:solidFill>
                <a:latin typeface="Montserrat Medium" panose="00000600000000000000" pitchFamily="2" charset="0"/>
                <a:cs typeface="Poppins" pitchFamily="2" charset="77"/>
              </a:rPr>
              <a:t>04</a:t>
            </a:r>
            <a:endParaRPr lang="de-DE" sz="2400" b="1" dirty="0">
              <a:solidFill>
                <a:schemeClr val="bg1"/>
              </a:solidFill>
              <a:latin typeface="Montserrat Medium" panose="00000600000000000000" pitchFamily="2" charset="0"/>
              <a:cs typeface="Poppins" pitchFamily="2" charset="77"/>
            </a:endParaRP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77F9D36F-2639-468C-9995-ABAF088DD7F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AB66817C-548C-4392-94D6-ED2B18A95E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tx2"/>
                </a:solidFill>
              </a:rPr>
              <a:t>Technologies</a:t>
            </a:r>
            <a:br>
              <a:rPr lang="de-DE" dirty="0"/>
            </a:br>
            <a:r>
              <a:rPr lang="de-DE" dirty="0"/>
              <a:t>Frontend - Angular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C97F361A-CF61-4FD8-981E-BE429B355D9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B63CAE-2CBB-47A6-9FDC-55E3E16A1DDB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6" name="Picture 2" descr="upload.wikimedia.org/wikipedia/commons/thumb/c/cf/...">
            <a:extLst>
              <a:ext uri="{FF2B5EF4-FFF2-40B4-BE49-F238E27FC236}">
                <a16:creationId xmlns:a16="http://schemas.microsoft.com/office/drawing/2014/main" id="{A3C1C424-DCF3-3A7F-1D1E-DEAEB73D24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70952" y="3175554"/>
            <a:ext cx="1167846" cy="11678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40360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5">
            <a:extLst>
              <a:ext uri="{FF2B5EF4-FFF2-40B4-BE49-F238E27FC236}">
                <a16:creationId xmlns:a16="http://schemas.microsoft.com/office/drawing/2014/main" id="{90051B68-682F-A042-81FC-EB1F2336F9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62200" y="1589770"/>
            <a:ext cx="1277107" cy="464152"/>
          </a:xfrm>
          <a:custGeom>
            <a:avLst/>
            <a:gdLst>
              <a:gd name="T0" fmla="*/ 260 w 2052"/>
              <a:gd name="T1" fmla="*/ 341 h 746"/>
              <a:gd name="T2" fmla="*/ 25 w 2052"/>
              <a:gd name="T3" fmla="*/ 67 h 746"/>
              <a:gd name="T4" fmla="*/ 25 w 2052"/>
              <a:gd name="T5" fmla="*/ 67 h 746"/>
              <a:gd name="T6" fmla="*/ 55 w 2052"/>
              <a:gd name="T7" fmla="*/ 0 h 746"/>
              <a:gd name="T8" fmla="*/ 1722 w 2052"/>
              <a:gd name="T9" fmla="*/ 0 h 746"/>
              <a:gd name="T10" fmla="*/ 1722 w 2052"/>
              <a:gd name="T11" fmla="*/ 0 h 746"/>
              <a:gd name="T12" fmla="*/ 1752 w 2052"/>
              <a:gd name="T13" fmla="*/ 14 h 746"/>
              <a:gd name="T14" fmla="*/ 2038 w 2052"/>
              <a:gd name="T15" fmla="*/ 341 h 746"/>
              <a:gd name="T16" fmla="*/ 2038 w 2052"/>
              <a:gd name="T17" fmla="*/ 341 h 746"/>
              <a:gd name="T18" fmla="*/ 2038 w 2052"/>
              <a:gd name="T19" fmla="*/ 394 h 746"/>
              <a:gd name="T20" fmla="*/ 1752 w 2052"/>
              <a:gd name="T21" fmla="*/ 730 h 746"/>
              <a:gd name="T22" fmla="*/ 1752 w 2052"/>
              <a:gd name="T23" fmla="*/ 730 h 746"/>
              <a:gd name="T24" fmla="*/ 1721 w 2052"/>
              <a:gd name="T25" fmla="*/ 745 h 746"/>
              <a:gd name="T26" fmla="*/ 54 w 2052"/>
              <a:gd name="T27" fmla="*/ 745 h 746"/>
              <a:gd name="T28" fmla="*/ 54 w 2052"/>
              <a:gd name="T29" fmla="*/ 745 h 746"/>
              <a:gd name="T30" fmla="*/ 23 w 2052"/>
              <a:gd name="T31" fmla="*/ 678 h 746"/>
              <a:gd name="T32" fmla="*/ 260 w 2052"/>
              <a:gd name="T33" fmla="*/ 394 h 746"/>
              <a:gd name="T34" fmla="*/ 260 w 2052"/>
              <a:gd name="T35" fmla="*/ 394 h 746"/>
              <a:gd name="T36" fmla="*/ 260 w 2052"/>
              <a:gd name="T37" fmla="*/ 341 h 7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052" h="746">
                <a:moveTo>
                  <a:pt x="260" y="341"/>
                </a:moveTo>
                <a:lnTo>
                  <a:pt x="25" y="67"/>
                </a:lnTo>
                <a:lnTo>
                  <a:pt x="25" y="67"/>
                </a:lnTo>
                <a:cubicBezTo>
                  <a:pt x="2" y="41"/>
                  <a:pt x="21" y="0"/>
                  <a:pt x="55" y="0"/>
                </a:cubicBezTo>
                <a:lnTo>
                  <a:pt x="1722" y="0"/>
                </a:lnTo>
                <a:lnTo>
                  <a:pt x="1722" y="0"/>
                </a:lnTo>
                <a:cubicBezTo>
                  <a:pt x="1733" y="0"/>
                  <a:pt x="1744" y="6"/>
                  <a:pt x="1752" y="14"/>
                </a:cubicBezTo>
                <a:lnTo>
                  <a:pt x="2038" y="341"/>
                </a:lnTo>
                <a:lnTo>
                  <a:pt x="2038" y="341"/>
                </a:lnTo>
                <a:cubicBezTo>
                  <a:pt x="2051" y="356"/>
                  <a:pt x="2051" y="379"/>
                  <a:pt x="2038" y="394"/>
                </a:cubicBezTo>
                <a:lnTo>
                  <a:pt x="1752" y="730"/>
                </a:lnTo>
                <a:lnTo>
                  <a:pt x="1752" y="730"/>
                </a:lnTo>
                <a:cubicBezTo>
                  <a:pt x="1744" y="739"/>
                  <a:pt x="1733" y="745"/>
                  <a:pt x="1721" y="745"/>
                </a:cubicBezTo>
                <a:lnTo>
                  <a:pt x="54" y="745"/>
                </a:lnTo>
                <a:lnTo>
                  <a:pt x="54" y="745"/>
                </a:lnTo>
                <a:cubicBezTo>
                  <a:pt x="19" y="745"/>
                  <a:pt x="0" y="704"/>
                  <a:pt x="23" y="678"/>
                </a:cubicBezTo>
                <a:lnTo>
                  <a:pt x="260" y="394"/>
                </a:lnTo>
                <a:lnTo>
                  <a:pt x="260" y="394"/>
                </a:lnTo>
                <a:cubicBezTo>
                  <a:pt x="273" y="379"/>
                  <a:pt x="273" y="356"/>
                  <a:pt x="260" y="341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3266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2C0552F-D0EA-F340-A5E3-1E1B23BDFD13}"/>
              </a:ext>
            </a:extLst>
          </p:cNvPr>
          <p:cNvSpPr txBox="1"/>
          <p:nvPr/>
        </p:nvSpPr>
        <p:spPr>
          <a:xfrm>
            <a:off x="2751325" y="1591014"/>
            <a:ext cx="498856" cy="46166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 dirty="0">
                <a:solidFill>
                  <a:schemeClr val="bg1"/>
                </a:solidFill>
                <a:latin typeface="Montserrat Medium" panose="00000600000000000000" pitchFamily="2" charset="0"/>
                <a:cs typeface="Poppins" pitchFamily="2" charset="77"/>
              </a:rPr>
              <a:t>01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E2DBF5B5-44E4-9C4A-B7A8-62C196A8945A}"/>
              </a:ext>
            </a:extLst>
          </p:cNvPr>
          <p:cNvSpPr txBox="1">
            <a:spLocks/>
          </p:cNvSpPr>
          <p:nvPr/>
        </p:nvSpPr>
        <p:spPr>
          <a:xfrm>
            <a:off x="4285256" y="1963571"/>
            <a:ext cx="4875884" cy="718979"/>
          </a:xfrm>
          <a:prstGeom prst="rect">
            <a:avLst/>
          </a:prstGeom>
        </p:spPr>
        <p:txBody>
          <a:bodyPr vert="horz" wrap="square" lIns="4572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750"/>
              </a:lnSpc>
            </a:pPr>
            <a:r>
              <a:rPr lang="en-US" sz="1200" dirty="0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Simplifies application configuration and reduces development time with embedded servers and auto-configuration.</a:t>
            </a:r>
            <a:endParaRPr lang="de-DE" sz="1200" dirty="0">
              <a:solidFill>
                <a:schemeClr val="tx1"/>
              </a:solidFill>
              <a:latin typeface="Montserrat Medium" panose="00000600000000000000" pitchFamily="2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D98026F-A297-F548-AAB9-B3799AC1DCFD}"/>
              </a:ext>
            </a:extLst>
          </p:cNvPr>
          <p:cNvSpPr txBox="1"/>
          <p:nvPr/>
        </p:nvSpPr>
        <p:spPr>
          <a:xfrm>
            <a:off x="4073798" y="1626439"/>
            <a:ext cx="1465466" cy="33855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1600" b="1" dirty="0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Spring Boot </a:t>
            </a:r>
            <a:endParaRPr lang="de-DE" sz="1600" b="1" dirty="0">
              <a:solidFill>
                <a:schemeClr val="tx2"/>
              </a:solidFill>
              <a:latin typeface="Montserrat Medium" panose="00000600000000000000" pitchFamily="2" charset="0"/>
              <a:ea typeface="League Spartan" charset="0"/>
              <a:cs typeface="Poppins" pitchFamily="2" charset="77"/>
            </a:endParaRPr>
          </a:p>
        </p:txBody>
      </p:sp>
      <p:sp>
        <p:nvSpPr>
          <p:cNvPr id="2" name="Freeform 2">
            <a:extLst>
              <a:ext uri="{FF2B5EF4-FFF2-40B4-BE49-F238E27FC236}">
                <a16:creationId xmlns:a16="http://schemas.microsoft.com/office/drawing/2014/main" id="{6076B468-3628-A34E-8D62-2526308D83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62200" y="2902601"/>
            <a:ext cx="1277107" cy="464152"/>
          </a:xfrm>
          <a:custGeom>
            <a:avLst/>
            <a:gdLst>
              <a:gd name="T0" fmla="*/ 260 w 2052"/>
              <a:gd name="T1" fmla="*/ 340 h 744"/>
              <a:gd name="T2" fmla="*/ 25 w 2052"/>
              <a:gd name="T3" fmla="*/ 67 h 744"/>
              <a:gd name="T4" fmla="*/ 25 w 2052"/>
              <a:gd name="T5" fmla="*/ 67 h 744"/>
              <a:gd name="T6" fmla="*/ 55 w 2052"/>
              <a:gd name="T7" fmla="*/ 0 h 744"/>
              <a:gd name="T8" fmla="*/ 1722 w 2052"/>
              <a:gd name="T9" fmla="*/ 0 h 744"/>
              <a:gd name="T10" fmla="*/ 1722 w 2052"/>
              <a:gd name="T11" fmla="*/ 0 h 744"/>
              <a:gd name="T12" fmla="*/ 1752 w 2052"/>
              <a:gd name="T13" fmla="*/ 13 h 744"/>
              <a:gd name="T14" fmla="*/ 2038 w 2052"/>
              <a:gd name="T15" fmla="*/ 340 h 744"/>
              <a:gd name="T16" fmla="*/ 2038 w 2052"/>
              <a:gd name="T17" fmla="*/ 340 h 744"/>
              <a:gd name="T18" fmla="*/ 2038 w 2052"/>
              <a:gd name="T19" fmla="*/ 393 h 744"/>
              <a:gd name="T20" fmla="*/ 1752 w 2052"/>
              <a:gd name="T21" fmla="*/ 729 h 744"/>
              <a:gd name="T22" fmla="*/ 1752 w 2052"/>
              <a:gd name="T23" fmla="*/ 729 h 744"/>
              <a:gd name="T24" fmla="*/ 1721 w 2052"/>
              <a:gd name="T25" fmla="*/ 743 h 744"/>
              <a:gd name="T26" fmla="*/ 54 w 2052"/>
              <a:gd name="T27" fmla="*/ 743 h 744"/>
              <a:gd name="T28" fmla="*/ 54 w 2052"/>
              <a:gd name="T29" fmla="*/ 743 h 744"/>
              <a:gd name="T30" fmla="*/ 23 w 2052"/>
              <a:gd name="T31" fmla="*/ 677 h 744"/>
              <a:gd name="T32" fmla="*/ 260 w 2052"/>
              <a:gd name="T33" fmla="*/ 393 h 744"/>
              <a:gd name="T34" fmla="*/ 260 w 2052"/>
              <a:gd name="T35" fmla="*/ 393 h 744"/>
              <a:gd name="T36" fmla="*/ 260 w 2052"/>
              <a:gd name="T37" fmla="*/ 340 h 7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052" h="744">
                <a:moveTo>
                  <a:pt x="260" y="340"/>
                </a:moveTo>
                <a:lnTo>
                  <a:pt x="25" y="67"/>
                </a:lnTo>
                <a:lnTo>
                  <a:pt x="25" y="67"/>
                </a:lnTo>
                <a:cubicBezTo>
                  <a:pt x="2" y="41"/>
                  <a:pt x="21" y="0"/>
                  <a:pt x="55" y="0"/>
                </a:cubicBezTo>
                <a:lnTo>
                  <a:pt x="1722" y="0"/>
                </a:lnTo>
                <a:lnTo>
                  <a:pt x="1722" y="0"/>
                </a:lnTo>
                <a:cubicBezTo>
                  <a:pt x="1733" y="0"/>
                  <a:pt x="1744" y="5"/>
                  <a:pt x="1752" y="13"/>
                </a:cubicBezTo>
                <a:lnTo>
                  <a:pt x="2038" y="340"/>
                </a:lnTo>
                <a:lnTo>
                  <a:pt x="2038" y="340"/>
                </a:lnTo>
                <a:cubicBezTo>
                  <a:pt x="2051" y="355"/>
                  <a:pt x="2051" y="378"/>
                  <a:pt x="2038" y="393"/>
                </a:cubicBezTo>
                <a:lnTo>
                  <a:pt x="1752" y="729"/>
                </a:lnTo>
                <a:lnTo>
                  <a:pt x="1752" y="729"/>
                </a:lnTo>
                <a:cubicBezTo>
                  <a:pt x="1744" y="738"/>
                  <a:pt x="1733" y="743"/>
                  <a:pt x="1721" y="743"/>
                </a:cubicBezTo>
                <a:lnTo>
                  <a:pt x="54" y="743"/>
                </a:lnTo>
                <a:lnTo>
                  <a:pt x="54" y="743"/>
                </a:lnTo>
                <a:cubicBezTo>
                  <a:pt x="19" y="743"/>
                  <a:pt x="0" y="703"/>
                  <a:pt x="23" y="677"/>
                </a:cubicBezTo>
                <a:lnTo>
                  <a:pt x="260" y="393"/>
                </a:lnTo>
                <a:lnTo>
                  <a:pt x="260" y="393"/>
                </a:lnTo>
                <a:cubicBezTo>
                  <a:pt x="273" y="378"/>
                  <a:pt x="273" y="355"/>
                  <a:pt x="260" y="340"/>
                </a:cubicBez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3266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6C4BB33-18F5-D14F-9E0A-D78AD10A810D}"/>
              </a:ext>
            </a:extLst>
          </p:cNvPr>
          <p:cNvSpPr txBox="1"/>
          <p:nvPr/>
        </p:nvSpPr>
        <p:spPr>
          <a:xfrm>
            <a:off x="2720869" y="2903845"/>
            <a:ext cx="559769" cy="46166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>
                <a:solidFill>
                  <a:schemeClr val="bg1"/>
                </a:solidFill>
                <a:latin typeface="Montserrat Medium" panose="00000600000000000000" pitchFamily="2" charset="0"/>
                <a:cs typeface="Poppins" pitchFamily="2" charset="77"/>
              </a:rPr>
              <a:t>02</a:t>
            </a:r>
            <a:endParaRPr lang="de-DE" sz="2400" b="1" dirty="0">
              <a:solidFill>
                <a:schemeClr val="bg1"/>
              </a:solidFill>
              <a:latin typeface="Montserrat Medium" panose="00000600000000000000" pitchFamily="2" charset="0"/>
              <a:cs typeface="Poppins" pitchFamily="2" charset="77"/>
            </a:endParaRP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07CB5B4A-1533-8446-BCED-DC843F0597ED}"/>
              </a:ext>
            </a:extLst>
          </p:cNvPr>
          <p:cNvSpPr txBox="1">
            <a:spLocks/>
          </p:cNvSpPr>
          <p:nvPr/>
        </p:nvSpPr>
        <p:spPr>
          <a:xfrm>
            <a:off x="4285256" y="3276402"/>
            <a:ext cx="4875884" cy="488147"/>
          </a:xfrm>
          <a:prstGeom prst="rect">
            <a:avLst/>
          </a:prstGeom>
        </p:spPr>
        <p:txBody>
          <a:bodyPr vert="horz" wrap="square" lIns="4572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750"/>
              </a:lnSpc>
            </a:pPr>
            <a:r>
              <a:rPr lang="en-US" sz="1200" dirty="0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JWT tokens and server-side cookies ensure secure authentication and protect data.</a:t>
            </a:r>
            <a:endParaRPr lang="de-DE" sz="1200" dirty="0">
              <a:solidFill>
                <a:schemeClr val="tx1"/>
              </a:solidFill>
              <a:latin typeface="Montserrat Medium" panose="00000600000000000000" pitchFamily="2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E7EAAEF-AF19-AE4F-B6A7-7AD62D9091B7}"/>
              </a:ext>
            </a:extLst>
          </p:cNvPr>
          <p:cNvSpPr txBox="1"/>
          <p:nvPr/>
        </p:nvSpPr>
        <p:spPr>
          <a:xfrm>
            <a:off x="4073798" y="2939270"/>
            <a:ext cx="2771913" cy="33855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de-DE" sz="1600" b="1" dirty="0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Spring Security </a:t>
            </a:r>
            <a:r>
              <a:rPr lang="de-DE" sz="1600" b="1" dirty="0" err="1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with</a:t>
            </a:r>
            <a:r>
              <a:rPr lang="de-DE" sz="1600" b="1" dirty="0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 JWT</a:t>
            </a:r>
          </a:p>
        </p:txBody>
      </p:sp>
      <p:sp>
        <p:nvSpPr>
          <p:cNvPr id="3" name="Freeform 3">
            <a:extLst>
              <a:ext uri="{FF2B5EF4-FFF2-40B4-BE49-F238E27FC236}">
                <a16:creationId xmlns:a16="http://schemas.microsoft.com/office/drawing/2014/main" id="{79416472-0357-E949-B0E3-9E67C4E1A8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62200" y="4202052"/>
            <a:ext cx="1277107" cy="464154"/>
          </a:xfrm>
          <a:custGeom>
            <a:avLst/>
            <a:gdLst>
              <a:gd name="T0" fmla="*/ 260 w 2052"/>
              <a:gd name="T1" fmla="*/ 340 h 745"/>
              <a:gd name="T2" fmla="*/ 25 w 2052"/>
              <a:gd name="T3" fmla="*/ 67 h 745"/>
              <a:gd name="T4" fmla="*/ 25 w 2052"/>
              <a:gd name="T5" fmla="*/ 67 h 745"/>
              <a:gd name="T6" fmla="*/ 55 w 2052"/>
              <a:gd name="T7" fmla="*/ 0 h 745"/>
              <a:gd name="T8" fmla="*/ 1722 w 2052"/>
              <a:gd name="T9" fmla="*/ 0 h 745"/>
              <a:gd name="T10" fmla="*/ 1722 w 2052"/>
              <a:gd name="T11" fmla="*/ 0 h 745"/>
              <a:gd name="T12" fmla="*/ 1752 w 2052"/>
              <a:gd name="T13" fmla="*/ 14 h 745"/>
              <a:gd name="T14" fmla="*/ 2038 w 2052"/>
              <a:gd name="T15" fmla="*/ 340 h 745"/>
              <a:gd name="T16" fmla="*/ 2038 w 2052"/>
              <a:gd name="T17" fmla="*/ 340 h 745"/>
              <a:gd name="T18" fmla="*/ 2038 w 2052"/>
              <a:gd name="T19" fmla="*/ 394 h 745"/>
              <a:gd name="T20" fmla="*/ 1752 w 2052"/>
              <a:gd name="T21" fmla="*/ 729 h 745"/>
              <a:gd name="T22" fmla="*/ 1752 w 2052"/>
              <a:gd name="T23" fmla="*/ 729 h 745"/>
              <a:gd name="T24" fmla="*/ 1721 w 2052"/>
              <a:gd name="T25" fmla="*/ 744 h 745"/>
              <a:gd name="T26" fmla="*/ 54 w 2052"/>
              <a:gd name="T27" fmla="*/ 744 h 745"/>
              <a:gd name="T28" fmla="*/ 54 w 2052"/>
              <a:gd name="T29" fmla="*/ 744 h 745"/>
              <a:gd name="T30" fmla="*/ 23 w 2052"/>
              <a:gd name="T31" fmla="*/ 677 h 745"/>
              <a:gd name="T32" fmla="*/ 260 w 2052"/>
              <a:gd name="T33" fmla="*/ 393 h 745"/>
              <a:gd name="T34" fmla="*/ 260 w 2052"/>
              <a:gd name="T35" fmla="*/ 393 h 745"/>
              <a:gd name="T36" fmla="*/ 260 w 2052"/>
              <a:gd name="T37" fmla="*/ 340 h 7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052" h="745">
                <a:moveTo>
                  <a:pt x="260" y="340"/>
                </a:moveTo>
                <a:lnTo>
                  <a:pt x="25" y="67"/>
                </a:lnTo>
                <a:lnTo>
                  <a:pt x="25" y="67"/>
                </a:lnTo>
                <a:cubicBezTo>
                  <a:pt x="2" y="41"/>
                  <a:pt x="21" y="0"/>
                  <a:pt x="55" y="0"/>
                </a:cubicBezTo>
                <a:lnTo>
                  <a:pt x="1722" y="0"/>
                </a:lnTo>
                <a:lnTo>
                  <a:pt x="1722" y="0"/>
                </a:lnTo>
                <a:cubicBezTo>
                  <a:pt x="1733" y="0"/>
                  <a:pt x="1744" y="5"/>
                  <a:pt x="1752" y="14"/>
                </a:cubicBezTo>
                <a:lnTo>
                  <a:pt x="2038" y="340"/>
                </a:lnTo>
                <a:lnTo>
                  <a:pt x="2038" y="340"/>
                </a:lnTo>
                <a:cubicBezTo>
                  <a:pt x="2051" y="356"/>
                  <a:pt x="2051" y="378"/>
                  <a:pt x="2038" y="394"/>
                </a:cubicBezTo>
                <a:lnTo>
                  <a:pt x="1752" y="729"/>
                </a:lnTo>
                <a:lnTo>
                  <a:pt x="1752" y="729"/>
                </a:lnTo>
                <a:cubicBezTo>
                  <a:pt x="1744" y="738"/>
                  <a:pt x="1733" y="744"/>
                  <a:pt x="1721" y="744"/>
                </a:cubicBezTo>
                <a:lnTo>
                  <a:pt x="54" y="744"/>
                </a:lnTo>
                <a:lnTo>
                  <a:pt x="54" y="744"/>
                </a:lnTo>
                <a:cubicBezTo>
                  <a:pt x="19" y="744"/>
                  <a:pt x="0" y="704"/>
                  <a:pt x="23" y="677"/>
                </a:cubicBezTo>
                <a:lnTo>
                  <a:pt x="260" y="393"/>
                </a:lnTo>
                <a:lnTo>
                  <a:pt x="260" y="393"/>
                </a:lnTo>
                <a:cubicBezTo>
                  <a:pt x="273" y="378"/>
                  <a:pt x="273" y="356"/>
                  <a:pt x="260" y="340"/>
                </a:cubicBez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3266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CCFED12-2297-7445-8666-39EB6704EDD9}"/>
              </a:ext>
            </a:extLst>
          </p:cNvPr>
          <p:cNvSpPr txBox="1"/>
          <p:nvPr/>
        </p:nvSpPr>
        <p:spPr>
          <a:xfrm>
            <a:off x="2720869" y="4203298"/>
            <a:ext cx="559769" cy="46166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>
                <a:solidFill>
                  <a:schemeClr val="bg1"/>
                </a:solidFill>
                <a:latin typeface="Montserrat Medium" panose="00000600000000000000" pitchFamily="2" charset="0"/>
                <a:cs typeface="Poppins" pitchFamily="2" charset="77"/>
              </a:rPr>
              <a:t>03</a:t>
            </a:r>
            <a:endParaRPr lang="de-DE" sz="2400" b="1" dirty="0">
              <a:solidFill>
                <a:schemeClr val="bg1"/>
              </a:solidFill>
              <a:latin typeface="Montserrat Medium" panose="00000600000000000000" pitchFamily="2" charset="0"/>
              <a:cs typeface="Poppins" pitchFamily="2" charset="77"/>
            </a:endParaRP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D63B4EB4-8D60-FB47-B641-6CF1F3F68041}"/>
              </a:ext>
            </a:extLst>
          </p:cNvPr>
          <p:cNvSpPr txBox="1">
            <a:spLocks/>
          </p:cNvSpPr>
          <p:nvPr/>
        </p:nvSpPr>
        <p:spPr>
          <a:xfrm>
            <a:off x="4285256" y="4575855"/>
            <a:ext cx="4875884" cy="257315"/>
          </a:xfrm>
          <a:prstGeom prst="rect">
            <a:avLst/>
          </a:prstGeom>
        </p:spPr>
        <p:txBody>
          <a:bodyPr vert="horz" wrap="square" lIns="4572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750"/>
              </a:lnSpc>
            </a:pPr>
            <a:r>
              <a:rPr lang="en-US" sz="1200" dirty="0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Unit testing ensures stability.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4C81924-BC19-1440-911C-C673604EB7ED}"/>
              </a:ext>
            </a:extLst>
          </p:cNvPr>
          <p:cNvSpPr txBox="1"/>
          <p:nvPr/>
        </p:nvSpPr>
        <p:spPr>
          <a:xfrm>
            <a:off x="4073798" y="4238723"/>
            <a:ext cx="2056973" cy="33855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de-DE" sz="1600" b="1" dirty="0" err="1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JUnit</a:t>
            </a:r>
            <a:r>
              <a:rPr lang="de-DE" sz="1600" b="1" dirty="0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 and </a:t>
            </a:r>
            <a:r>
              <a:rPr lang="de-DE" sz="1600" b="1" dirty="0" err="1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Mockito</a:t>
            </a:r>
            <a:endParaRPr lang="de-DE" sz="1600" b="1" dirty="0">
              <a:solidFill>
                <a:schemeClr val="tx2"/>
              </a:solidFill>
              <a:latin typeface="Montserrat Medium" panose="00000600000000000000" pitchFamily="2" charset="0"/>
              <a:ea typeface="League Spartan" charset="0"/>
              <a:cs typeface="Poppins" pitchFamily="2" charset="77"/>
            </a:endParaRP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77F9D36F-2639-468C-9995-ABAF088DD7F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AB66817C-548C-4392-94D6-ED2B18A95E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ckend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C97F361A-CF61-4FD8-981E-BE429B355D9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B63CAE-2CBB-47A6-9FDC-55E3E16A1DDB}" type="slidenum">
              <a:rPr lang="de-DE" smtClean="0"/>
              <a:pPr/>
              <a:t>7</a:t>
            </a:fld>
            <a:endParaRPr lang="de-DE" dirty="0"/>
          </a:p>
        </p:txBody>
      </p:sp>
      <p:pic>
        <p:nvPicPr>
          <p:cNvPr id="6" name="Picture 4" descr="undefined">
            <a:extLst>
              <a:ext uri="{FF2B5EF4-FFF2-40B4-BE49-F238E27FC236}">
                <a16:creationId xmlns:a16="http://schemas.microsoft.com/office/drawing/2014/main" id="{4A244B8F-98B4-6A77-A3E1-7ED5AF662E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96215" y="1637433"/>
            <a:ext cx="953095" cy="861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Freeform 3">
            <a:extLst>
              <a:ext uri="{FF2B5EF4-FFF2-40B4-BE49-F238E27FC236}">
                <a16:creationId xmlns:a16="http://schemas.microsoft.com/office/drawing/2014/main" id="{450AD6EC-F3E1-F473-C124-9388A1CB54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79340" y="5410201"/>
            <a:ext cx="1277107" cy="464154"/>
          </a:xfrm>
          <a:custGeom>
            <a:avLst/>
            <a:gdLst>
              <a:gd name="T0" fmla="*/ 260 w 2052"/>
              <a:gd name="T1" fmla="*/ 340 h 745"/>
              <a:gd name="T2" fmla="*/ 25 w 2052"/>
              <a:gd name="T3" fmla="*/ 67 h 745"/>
              <a:gd name="T4" fmla="*/ 25 w 2052"/>
              <a:gd name="T5" fmla="*/ 67 h 745"/>
              <a:gd name="T6" fmla="*/ 55 w 2052"/>
              <a:gd name="T7" fmla="*/ 0 h 745"/>
              <a:gd name="T8" fmla="*/ 1722 w 2052"/>
              <a:gd name="T9" fmla="*/ 0 h 745"/>
              <a:gd name="T10" fmla="*/ 1722 w 2052"/>
              <a:gd name="T11" fmla="*/ 0 h 745"/>
              <a:gd name="T12" fmla="*/ 1752 w 2052"/>
              <a:gd name="T13" fmla="*/ 14 h 745"/>
              <a:gd name="T14" fmla="*/ 2038 w 2052"/>
              <a:gd name="T15" fmla="*/ 340 h 745"/>
              <a:gd name="T16" fmla="*/ 2038 w 2052"/>
              <a:gd name="T17" fmla="*/ 340 h 745"/>
              <a:gd name="T18" fmla="*/ 2038 w 2052"/>
              <a:gd name="T19" fmla="*/ 394 h 745"/>
              <a:gd name="T20" fmla="*/ 1752 w 2052"/>
              <a:gd name="T21" fmla="*/ 729 h 745"/>
              <a:gd name="T22" fmla="*/ 1752 w 2052"/>
              <a:gd name="T23" fmla="*/ 729 h 745"/>
              <a:gd name="T24" fmla="*/ 1721 w 2052"/>
              <a:gd name="T25" fmla="*/ 744 h 745"/>
              <a:gd name="T26" fmla="*/ 54 w 2052"/>
              <a:gd name="T27" fmla="*/ 744 h 745"/>
              <a:gd name="T28" fmla="*/ 54 w 2052"/>
              <a:gd name="T29" fmla="*/ 744 h 745"/>
              <a:gd name="T30" fmla="*/ 23 w 2052"/>
              <a:gd name="T31" fmla="*/ 677 h 745"/>
              <a:gd name="T32" fmla="*/ 260 w 2052"/>
              <a:gd name="T33" fmla="*/ 393 h 745"/>
              <a:gd name="T34" fmla="*/ 260 w 2052"/>
              <a:gd name="T35" fmla="*/ 393 h 745"/>
              <a:gd name="T36" fmla="*/ 260 w 2052"/>
              <a:gd name="T37" fmla="*/ 340 h 7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052" h="745">
                <a:moveTo>
                  <a:pt x="260" y="340"/>
                </a:moveTo>
                <a:lnTo>
                  <a:pt x="25" y="67"/>
                </a:lnTo>
                <a:lnTo>
                  <a:pt x="25" y="67"/>
                </a:lnTo>
                <a:cubicBezTo>
                  <a:pt x="2" y="41"/>
                  <a:pt x="21" y="0"/>
                  <a:pt x="55" y="0"/>
                </a:cubicBezTo>
                <a:lnTo>
                  <a:pt x="1722" y="0"/>
                </a:lnTo>
                <a:lnTo>
                  <a:pt x="1722" y="0"/>
                </a:lnTo>
                <a:cubicBezTo>
                  <a:pt x="1733" y="0"/>
                  <a:pt x="1744" y="5"/>
                  <a:pt x="1752" y="14"/>
                </a:cubicBezTo>
                <a:lnTo>
                  <a:pt x="2038" y="340"/>
                </a:lnTo>
                <a:lnTo>
                  <a:pt x="2038" y="340"/>
                </a:lnTo>
                <a:cubicBezTo>
                  <a:pt x="2051" y="356"/>
                  <a:pt x="2051" y="378"/>
                  <a:pt x="2038" y="394"/>
                </a:cubicBezTo>
                <a:lnTo>
                  <a:pt x="1752" y="729"/>
                </a:lnTo>
                <a:lnTo>
                  <a:pt x="1752" y="729"/>
                </a:lnTo>
                <a:cubicBezTo>
                  <a:pt x="1744" y="738"/>
                  <a:pt x="1733" y="744"/>
                  <a:pt x="1721" y="744"/>
                </a:cubicBezTo>
                <a:lnTo>
                  <a:pt x="54" y="744"/>
                </a:lnTo>
                <a:lnTo>
                  <a:pt x="54" y="744"/>
                </a:lnTo>
                <a:cubicBezTo>
                  <a:pt x="19" y="744"/>
                  <a:pt x="0" y="704"/>
                  <a:pt x="23" y="677"/>
                </a:cubicBezTo>
                <a:lnTo>
                  <a:pt x="260" y="393"/>
                </a:lnTo>
                <a:lnTo>
                  <a:pt x="260" y="393"/>
                </a:lnTo>
                <a:cubicBezTo>
                  <a:pt x="273" y="378"/>
                  <a:pt x="273" y="356"/>
                  <a:pt x="260" y="340"/>
                </a:cubicBezTo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de-DE" sz="3266" dirty="0">
              <a:solidFill>
                <a:schemeClr val="accent1">
                  <a:lumMod val="40000"/>
                  <a:lumOff val="6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27" name="TextBox 10">
            <a:extLst>
              <a:ext uri="{FF2B5EF4-FFF2-40B4-BE49-F238E27FC236}">
                <a16:creationId xmlns:a16="http://schemas.microsoft.com/office/drawing/2014/main" id="{9ED2DAA2-DFBD-8E33-E130-C113F9CDDB75}"/>
              </a:ext>
            </a:extLst>
          </p:cNvPr>
          <p:cNvSpPr txBox="1"/>
          <p:nvPr/>
        </p:nvSpPr>
        <p:spPr>
          <a:xfrm>
            <a:off x="2723582" y="5411447"/>
            <a:ext cx="588623" cy="46166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2400" b="1" dirty="0">
                <a:solidFill>
                  <a:schemeClr val="bg1"/>
                </a:solidFill>
                <a:latin typeface="Montserrat Medium" panose="00000600000000000000" pitchFamily="2" charset="0"/>
                <a:cs typeface="Poppins" pitchFamily="2" charset="77"/>
              </a:rPr>
              <a:t>04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CB674611-C9FD-D3E6-DC50-A329BDE74671}"/>
              </a:ext>
            </a:extLst>
          </p:cNvPr>
          <p:cNvSpPr txBox="1">
            <a:spLocks/>
          </p:cNvSpPr>
          <p:nvPr/>
        </p:nvSpPr>
        <p:spPr>
          <a:xfrm>
            <a:off x="4302396" y="5784004"/>
            <a:ext cx="4875884" cy="488147"/>
          </a:xfrm>
          <a:prstGeom prst="rect">
            <a:avLst/>
          </a:prstGeom>
        </p:spPr>
        <p:txBody>
          <a:bodyPr vert="horz" wrap="square" lIns="4572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750"/>
              </a:lnSpc>
            </a:pPr>
            <a:r>
              <a:rPr lang="en-US" sz="1200" dirty="0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Provides reliable data storage and retrieval for consistent performance.</a:t>
            </a:r>
          </a:p>
        </p:txBody>
      </p:sp>
      <p:sp>
        <p:nvSpPr>
          <p:cNvPr id="29" name="TextBox 20">
            <a:extLst>
              <a:ext uri="{FF2B5EF4-FFF2-40B4-BE49-F238E27FC236}">
                <a16:creationId xmlns:a16="http://schemas.microsoft.com/office/drawing/2014/main" id="{46435CD7-D916-690B-0F4C-9A9CBE582796}"/>
              </a:ext>
            </a:extLst>
          </p:cNvPr>
          <p:cNvSpPr txBox="1"/>
          <p:nvPr/>
        </p:nvSpPr>
        <p:spPr>
          <a:xfrm>
            <a:off x="4090938" y="5446872"/>
            <a:ext cx="904415" cy="33855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de-DE" sz="1600" b="1" dirty="0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MySQL</a:t>
            </a:r>
          </a:p>
        </p:txBody>
      </p:sp>
      <p:pic>
        <p:nvPicPr>
          <p:cNvPr id="30" name="Picture 4">
            <a:extLst>
              <a:ext uri="{FF2B5EF4-FFF2-40B4-BE49-F238E27FC236}">
                <a16:creationId xmlns:a16="http://schemas.microsoft.com/office/drawing/2014/main" id="{2E04A0EA-00BD-9F7C-2536-398A2D45D7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0460" y="4226326"/>
            <a:ext cx="1103292" cy="5936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" descr="JWT Logo PNG Vector">
            <a:extLst>
              <a:ext uri="{FF2B5EF4-FFF2-40B4-BE49-F238E27FC236}">
                <a16:creationId xmlns:a16="http://schemas.microsoft.com/office/drawing/2014/main" id="{A1A49785-3753-88D3-EF33-DFAC0D3BC6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0460" y="2939270"/>
            <a:ext cx="928850" cy="907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Grafik 31" descr="Ein Bild, das Grafiken, Schrift, Logo, Design enthält.&#10;&#10;Automatisch generierte Beschreibung">
            <a:extLst>
              <a:ext uri="{FF2B5EF4-FFF2-40B4-BE49-F238E27FC236}">
                <a16:creationId xmlns:a16="http://schemas.microsoft.com/office/drawing/2014/main" id="{02DD5CA3-BC05-46CC-57A5-58B3C8BA9A1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0459" y="5410200"/>
            <a:ext cx="1103292" cy="969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31877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F6A039D-AD2E-4691-97E8-5724F6AA603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B63CAE-2CBB-47A6-9FDC-55E3E16A1DDB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B9BCF9D-33DB-4849-98AF-8126CE1E7CC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endParaRPr lang="en-DE" sz="3200" dirty="0"/>
          </a:p>
          <a:p>
            <a:endParaRPr lang="en-DE" sz="3200" dirty="0"/>
          </a:p>
          <a:p>
            <a:endParaRPr lang="en-DE" sz="3200" dirty="0"/>
          </a:p>
          <a:p>
            <a:r>
              <a:rPr lang="en-DE" sz="6000" b="1" dirty="0">
                <a:solidFill>
                  <a:srgbClr val="00AA70"/>
                </a:solidFill>
              </a:rPr>
              <a:t>	LIVE  DEMO</a:t>
            </a:r>
            <a:endParaRPr lang="de-DE" sz="6000" b="1" dirty="0">
              <a:solidFill>
                <a:srgbClr val="00AA70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F86D06E-292B-487C-A466-F412846721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Features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49F836D-51B5-4835-8FE3-94F64BF82A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4100" name="Picture 4" descr="Hand drawn flat design homepage illustration">
            <a:extLst>
              <a:ext uri="{FF2B5EF4-FFF2-40B4-BE49-F238E27FC236}">
                <a16:creationId xmlns:a16="http://schemas.microsoft.com/office/drawing/2014/main" id="{35B732C8-51DD-FF42-5B3A-FBC8C876CB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6704" y="2258099"/>
            <a:ext cx="3515511" cy="23418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22723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606">
            <a:extLst>
              <a:ext uri="{FF2B5EF4-FFF2-40B4-BE49-F238E27FC236}">
                <a16:creationId xmlns:a16="http://schemas.microsoft.com/office/drawing/2014/main" id="{FF0EE9DE-0CEA-5B41-9662-29033ED5FB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64442" y="2600667"/>
            <a:ext cx="1264795" cy="905061"/>
          </a:xfrm>
          <a:custGeom>
            <a:avLst/>
            <a:gdLst>
              <a:gd name="connsiteX0" fmla="*/ 2179135 w 2202284"/>
              <a:gd name="connsiteY0" fmla="*/ 1505682 h 1575910"/>
              <a:gd name="connsiteX1" fmla="*/ 2202284 w 2202284"/>
              <a:gd name="connsiteY1" fmla="*/ 1563802 h 1575910"/>
              <a:gd name="connsiteX2" fmla="*/ 2164988 w 2202284"/>
              <a:gd name="connsiteY2" fmla="*/ 1575910 h 1575910"/>
              <a:gd name="connsiteX3" fmla="*/ 2143125 w 2202284"/>
              <a:gd name="connsiteY3" fmla="*/ 1519001 h 1575910"/>
              <a:gd name="connsiteX4" fmla="*/ 2079123 w 2202284"/>
              <a:gd name="connsiteY4" fmla="*/ 1269391 h 1575910"/>
              <a:gd name="connsiteX5" fmla="*/ 2108861 w 2202284"/>
              <a:gd name="connsiteY5" fmla="*/ 1327091 h 1575910"/>
              <a:gd name="connsiteX6" fmla="*/ 2072658 w 2202284"/>
              <a:gd name="connsiteY6" fmla="*/ 1345042 h 1575910"/>
              <a:gd name="connsiteX7" fmla="*/ 2044212 w 2202284"/>
              <a:gd name="connsiteY7" fmla="*/ 1286060 h 1575910"/>
              <a:gd name="connsiteX8" fmla="*/ 1942856 w 2202284"/>
              <a:gd name="connsiteY8" fmla="*/ 1049583 h 1575910"/>
              <a:gd name="connsiteX9" fmla="*/ 1977048 w 2202284"/>
              <a:gd name="connsiteY9" fmla="*/ 1106001 h 1575910"/>
              <a:gd name="connsiteX10" fmla="*/ 1945298 w 2202284"/>
              <a:gd name="connsiteY10" fmla="*/ 1125234 h 1575910"/>
              <a:gd name="connsiteX11" fmla="*/ 1912327 w 2202284"/>
              <a:gd name="connsiteY11" fmla="*/ 1071381 h 1575910"/>
              <a:gd name="connsiteX12" fmla="*/ 1792782 w 2202284"/>
              <a:gd name="connsiteY12" fmla="*/ 846259 h 1575910"/>
              <a:gd name="connsiteX13" fmla="*/ 1834141 w 2202284"/>
              <a:gd name="connsiteY13" fmla="*/ 893482 h 1575910"/>
              <a:gd name="connsiteX14" fmla="*/ 1804061 w 2202284"/>
              <a:gd name="connsiteY14" fmla="*/ 916487 h 1575910"/>
              <a:gd name="connsiteX15" fmla="*/ 1763955 w 2202284"/>
              <a:gd name="connsiteY15" fmla="*/ 869265 h 1575910"/>
              <a:gd name="connsiteX16" fmla="*/ 1619033 w 2202284"/>
              <a:gd name="connsiteY16" fmla="*/ 653929 h 1575910"/>
              <a:gd name="connsiteX17" fmla="*/ 1663831 w 2202284"/>
              <a:gd name="connsiteY17" fmla="*/ 697517 h 1575910"/>
              <a:gd name="connsiteX18" fmla="*/ 1637194 w 2202284"/>
              <a:gd name="connsiteY18" fmla="*/ 724154 h 1575910"/>
              <a:gd name="connsiteX19" fmla="*/ 1593606 w 2202284"/>
              <a:gd name="connsiteY19" fmla="*/ 680566 h 1575910"/>
              <a:gd name="connsiteX20" fmla="*/ 1424352 w 2202284"/>
              <a:gd name="connsiteY20" fmla="*/ 489074 h 1575910"/>
              <a:gd name="connsiteX21" fmla="*/ 1476923 w 2202284"/>
              <a:gd name="connsiteY21" fmla="*/ 528619 h 1575910"/>
              <a:gd name="connsiteX22" fmla="*/ 1451279 w 2202284"/>
              <a:gd name="connsiteY22" fmla="*/ 559235 h 1575910"/>
              <a:gd name="connsiteX23" fmla="*/ 1401272 w 2202284"/>
              <a:gd name="connsiteY23" fmla="*/ 518414 h 1575910"/>
              <a:gd name="connsiteX24" fmla="*/ 1212971 w 2202284"/>
              <a:gd name="connsiteY24" fmla="*/ 346199 h 1575910"/>
              <a:gd name="connsiteX25" fmla="*/ 1268106 w 2202284"/>
              <a:gd name="connsiteY25" fmla="*/ 379170 h 1575910"/>
              <a:gd name="connsiteX26" fmla="*/ 1247591 w 2202284"/>
              <a:gd name="connsiteY26" fmla="*/ 410920 h 1575910"/>
              <a:gd name="connsiteX27" fmla="*/ 1192455 w 2202284"/>
              <a:gd name="connsiteY27" fmla="*/ 377949 h 1575910"/>
              <a:gd name="connsiteX28" fmla="*/ 990304 w 2202284"/>
              <a:gd name="connsiteY28" fmla="*/ 225304 h 1575910"/>
              <a:gd name="connsiteX29" fmla="*/ 1048319 w 2202284"/>
              <a:gd name="connsiteY29" fmla="*/ 251900 h 1575910"/>
              <a:gd name="connsiteX30" fmla="*/ 1030662 w 2202284"/>
              <a:gd name="connsiteY30" fmla="*/ 284540 h 1575910"/>
              <a:gd name="connsiteX31" fmla="*/ 972647 w 2202284"/>
              <a:gd name="connsiteY31" fmla="*/ 257945 h 1575910"/>
              <a:gd name="connsiteX32" fmla="*/ 753958 w 2202284"/>
              <a:gd name="connsiteY32" fmla="*/ 126391 h 1575910"/>
              <a:gd name="connsiteX33" fmla="*/ 812077 w 2202284"/>
              <a:gd name="connsiteY33" fmla="*/ 149540 h 1575910"/>
              <a:gd name="connsiteX34" fmla="*/ 799969 w 2202284"/>
              <a:gd name="connsiteY34" fmla="*/ 185550 h 1575910"/>
              <a:gd name="connsiteX35" fmla="*/ 741849 w 2202284"/>
              <a:gd name="connsiteY35" fmla="*/ 163687 h 1575910"/>
              <a:gd name="connsiteX36" fmla="*/ 507581 w 2202284"/>
              <a:gd name="connsiteY36" fmla="*/ 54952 h 1575910"/>
              <a:gd name="connsiteX37" fmla="*/ 570247 w 2202284"/>
              <a:gd name="connsiteY37" fmla="*/ 70288 h 1575910"/>
              <a:gd name="connsiteX38" fmla="*/ 560220 w 2202284"/>
              <a:gd name="connsiteY38" fmla="*/ 108626 h 1575910"/>
              <a:gd name="connsiteX39" fmla="*/ 500061 w 2202284"/>
              <a:gd name="connsiteY39" fmla="*/ 93291 h 1575910"/>
              <a:gd name="connsiteX40" fmla="*/ 251109 w 2202284"/>
              <a:gd name="connsiteY40" fmla="*/ 16487 h 1575910"/>
              <a:gd name="connsiteX41" fmla="*/ 317446 w 2202284"/>
              <a:gd name="connsiteY41" fmla="*/ 24296 h 1575910"/>
              <a:gd name="connsiteX42" fmla="*/ 311067 w 2202284"/>
              <a:gd name="connsiteY42" fmla="*/ 64641 h 1575910"/>
              <a:gd name="connsiteX43" fmla="*/ 247282 w 2202284"/>
              <a:gd name="connsiteY43" fmla="*/ 56832 h 1575910"/>
              <a:gd name="connsiteX44" fmla="*/ 0 w 2202284"/>
              <a:gd name="connsiteY44" fmla="*/ 0 h 1575910"/>
              <a:gd name="connsiteX45" fmla="*/ 64674 w 2202284"/>
              <a:gd name="connsiteY45" fmla="*/ 1202 h 1575910"/>
              <a:gd name="connsiteX46" fmla="*/ 63406 w 2202284"/>
              <a:gd name="connsiteY46" fmla="*/ 37266 h 1575910"/>
              <a:gd name="connsiteX47" fmla="*/ 0 w 2202284"/>
              <a:gd name="connsiteY47" fmla="*/ 37266 h 1575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202284" h="1575910">
                <a:moveTo>
                  <a:pt x="2179135" y="1505682"/>
                </a:moveTo>
                <a:cubicBezTo>
                  <a:pt x="2188137" y="1523845"/>
                  <a:pt x="2195854" y="1544429"/>
                  <a:pt x="2202284" y="1563802"/>
                </a:cubicBezTo>
                <a:lnTo>
                  <a:pt x="2164988" y="1575910"/>
                </a:lnTo>
                <a:cubicBezTo>
                  <a:pt x="2158558" y="1556537"/>
                  <a:pt x="2150842" y="1537164"/>
                  <a:pt x="2143125" y="1519001"/>
                </a:cubicBezTo>
                <a:close/>
                <a:moveTo>
                  <a:pt x="2079123" y="1269391"/>
                </a:moveTo>
                <a:cubicBezTo>
                  <a:pt x="2089467" y="1288624"/>
                  <a:pt x="2099810" y="1307858"/>
                  <a:pt x="2108861" y="1327091"/>
                </a:cubicBezTo>
                <a:lnTo>
                  <a:pt x="2072658" y="1345042"/>
                </a:lnTo>
                <a:cubicBezTo>
                  <a:pt x="2063607" y="1325809"/>
                  <a:pt x="2054556" y="1305293"/>
                  <a:pt x="2044212" y="1286060"/>
                </a:cubicBezTo>
                <a:close/>
                <a:moveTo>
                  <a:pt x="1942856" y="1049583"/>
                </a:moveTo>
                <a:cubicBezTo>
                  <a:pt x="1955067" y="1067534"/>
                  <a:pt x="1966058" y="1086768"/>
                  <a:pt x="1977048" y="1106001"/>
                </a:cubicBezTo>
                <a:lnTo>
                  <a:pt x="1945298" y="1125234"/>
                </a:lnTo>
                <a:cubicBezTo>
                  <a:pt x="1934308" y="1107283"/>
                  <a:pt x="1923318" y="1089332"/>
                  <a:pt x="1912327" y="1071381"/>
                </a:cubicBezTo>
                <a:close/>
                <a:moveTo>
                  <a:pt x="1792782" y="846259"/>
                </a:moveTo>
                <a:cubicBezTo>
                  <a:pt x="1806568" y="862000"/>
                  <a:pt x="1820354" y="877741"/>
                  <a:pt x="1834141" y="893482"/>
                </a:cubicBezTo>
                <a:lnTo>
                  <a:pt x="1804061" y="916487"/>
                </a:lnTo>
                <a:cubicBezTo>
                  <a:pt x="1790275" y="900747"/>
                  <a:pt x="1777742" y="885006"/>
                  <a:pt x="1763955" y="869265"/>
                </a:cubicBezTo>
                <a:close/>
                <a:moveTo>
                  <a:pt x="1619033" y="653929"/>
                </a:moveTo>
                <a:cubicBezTo>
                  <a:pt x="1633562" y="668459"/>
                  <a:pt x="1648091" y="682988"/>
                  <a:pt x="1663831" y="697517"/>
                </a:cubicBezTo>
                <a:lnTo>
                  <a:pt x="1637194" y="724154"/>
                </a:lnTo>
                <a:cubicBezTo>
                  <a:pt x="1622665" y="708414"/>
                  <a:pt x="1608136" y="695096"/>
                  <a:pt x="1593606" y="680566"/>
                </a:cubicBezTo>
                <a:close/>
                <a:moveTo>
                  <a:pt x="1424352" y="489074"/>
                </a:moveTo>
                <a:cubicBezTo>
                  <a:pt x="1442303" y="501831"/>
                  <a:pt x="1458972" y="515863"/>
                  <a:pt x="1476923" y="528619"/>
                </a:cubicBezTo>
                <a:lnTo>
                  <a:pt x="1451279" y="559235"/>
                </a:lnTo>
                <a:cubicBezTo>
                  <a:pt x="1435892" y="545203"/>
                  <a:pt x="1417941" y="532446"/>
                  <a:pt x="1401272" y="518414"/>
                </a:cubicBezTo>
                <a:close/>
                <a:moveTo>
                  <a:pt x="1212971" y="346199"/>
                </a:moveTo>
                <a:cubicBezTo>
                  <a:pt x="1232204" y="355968"/>
                  <a:pt x="1250155" y="368180"/>
                  <a:pt x="1268106" y="379170"/>
                </a:cubicBezTo>
                <a:lnTo>
                  <a:pt x="1247591" y="410920"/>
                </a:lnTo>
                <a:cubicBezTo>
                  <a:pt x="1229640" y="399930"/>
                  <a:pt x="1211688" y="388939"/>
                  <a:pt x="1192455" y="377949"/>
                </a:cubicBezTo>
                <a:close/>
                <a:moveTo>
                  <a:pt x="990304" y="225304"/>
                </a:moveTo>
                <a:cubicBezTo>
                  <a:pt x="1009222" y="233767"/>
                  <a:pt x="1029401" y="242229"/>
                  <a:pt x="1048319" y="251900"/>
                </a:cubicBezTo>
                <a:lnTo>
                  <a:pt x="1030662" y="284540"/>
                </a:lnTo>
                <a:cubicBezTo>
                  <a:pt x="1011744" y="276078"/>
                  <a:pt x="992826" y="267616"/>
                  <a:pt x="972647" y="257945"/>
                </a:cubicBezTo>
                <a:close/>
                <a:moveTo>
                  <a:pt x="753958" y="126391"/>
                </a:moveTo>
                <a:cubicBezTo>
                  <a:pt x="773331" y="134108"/>
                  <a:pt x="792704" y="140538"/>
                  <a:pt x="812077" y="149540"/>
                </a:cubicBezTo>
                <a:lnTo>
                  <a:pt x="799969" y="185550"/>
                </a:lnTo>
                <a:cubicBezTo>
                  <a:pt x="780596" y="177834"/>
                  <a:pt x="761223" y="171403"/>
                  <a:pt x="741849" y="163687"/>
                </a:cubicBezTo>
                <a:close/>
                <a:moveTo>
                  <a:pt x="507581" y="54952"/>
                </a:moveTo>
                <a:cubicBezTo>
                  <a:pt x="528888" y="58786"/>
                  <a:pt x="548941" y="63898"/>
                  <a:pt x="570247" y="70288"/>
                </a:cubicBezTo>
                <a:lnTo>
                  <a:pt x="560220" y="108626"/>
                </a:lnTo>
                <a:cubicBezTo>
                  <a:pt x="540167" y="102237"/>
                  <a:pt x="518861" y="97125"/>
                  <a:pt x="500061" y="93291"/>
                </a:cubicBezTo>
                <a:close/>
                <a:moveTo>
                  <a:pt x="251109" y="16487"/>
                </a:moveTo>
                <a:cubicBezTo>
                  <a:pt x="272796" y="19090"/>
                  <a:pt x="294483" y="21693"/>
                  <a:pt x="317446" y="24296"/>
                </a:cubicBezTo>
                <a:lnTo>
                  <a:pt x="311067" y="64641"/>
                </a:lnTo>
                <a:cubicBezTo>
                  <a:pt x="289380" y="62038"/>
                  <a:pt x="268969" y="59435"/>
                  <a:pt x="247282" y="56832"/>
                </a:cubicBezTo>
                <a:close/>
                <a:moveTo>
                  <a:pt x="0" y="0"/>
                </a:moveTo>
                <a:cubicBezTo>
                  <a:pt x="21558" y="0"/>
                  <a:pt x="43116" y="0"/>
                  <a:pt x="64674" y="1202"/>
                </a:cubicBezTo>
                <a:lnTo>
                  <a:pt x="63406" y="37266"/>
                </a:lnTo>
                <a:cubicBezTo>
                  <a:pt x="41848" y="37266"/>
                  <a:pt x="20290" y="37266"/>
                  <a:pt x="0" y="3726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de-DE" sz="900" dirty="0"/>
          </a:p>
        </p:txBody>
      </p:sp>
      <p:sp>
        <p:nvSpPr>
          <p:cNvPr id="5" name="Freeform: Shape 607">
            <a:extLst>
              <a:ext uri="{FF2B5EF4-FFF2-40B4-BE49-F238E27FC236}">
                <a16:creationId xmlns:a16="http://schemas.microsoft.com/office/drawing/2014/main" id="{2A583950-B874-D540-860A-710B2AE19C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1994" y="4377465"/>
            <a:ext cx="2517722" cy="905065"/>
          </a:xfrm>
          <a:custGeom>
            <a:avLst/>
            <a:gdLst>
              <a:gd name="connsiteX0" fmla="*/ 2181590 w 4383905"/>
              <a:gd name="connsiteY0" fmla="*/ 1538654 h 1575917"/>
              <a:gd name="connsiteX1" fmla="*/ 2244996 w 4383905"/>
              <a:gd name="connsiteY1" fmla="*/ 1538654 h 1575917"/>
              <a:gd name="connsiteX2" fmla="*/ 2246264 w 4383905"/>
              <a:gd name="connsiteY2" fmla="*/ 1574715 h 1575917"/>
              <a:gd name="connsiteX3" fmla="*/ 2181590 w 4383905"/>
              <a:gd name="connsiteY3" fmla="*/ 1575917 h 1575917"/>
              <a:gd name="connsiteX4" fmla="*/ 1926914 w 4383905"/>
              <a:gd name="connsiteY4" fmla="*/ 1527663 h 1575917"/>
              <a:gd name="connsiteX5" fmla="*/ 1988060 w 4383905"/>
              <a:gd name="connsiteY5" fmla="*/ 1532548 h 1575917"/>
              <a:gd name="connsiteX6" fmla="*/ 1984463 w 4383905"/>
              <a:gd name="connsiteY6" fmla="*/ 1570404 h 1575917"/>
              <a:gd name="connsiteX7" fmla="*/ 1923317 w 4383905"/>
              <a:gd name="connsiteY7" fmla="*/ 1564298 h 1575917"/>
              <a:gd name="connsiteX8" fmla="*/ 2488822 w 4383905"/>
              <a:gd name="connsiteY8" fmla="*/ 1516673 h 1575917"/>
              <a:gd name="connsiteX9" fmla="*/ 2493618 w 4383905"/>
              <a:gd name="connsiteY9" fmla="*/ 1557018 h 1575917"/>
              <a:gd name="connsiteX10" fmla="*/ 2432472 w 4383905"/>
              <a:gd name="connsiteY10" fmla="*/ 1564827 h 1575917"/>
              <a:gd name="connsiteX11" fmla="*/ 2428875 w 4383905"/>
              <a:gd name="connsiteY11" fmla="*/ 1525783 h 1575917"/>
              <a:gd name="connsiteX12" fmla="*/ 2488822 w 4383905"/>
              <a:gd name="connsiteY12" fmla="*/ 1516673 h 1575917"/>
              <a:gd name="connsiteX13" fmla="*/ 1679312 w 4383905"/>
              <a:gd name="connsiteY13" fmla="*/ 1483702 h 1575917"/>
              <a:gd name="connsiteX14" fmla="*/ 1740722 w 4383905"/>
              <a:gd name="connsiteY14" fmla="*/ 1495764 h 1575917"/>
              <a:gd name="connsiteX15" fmla="*/ 1733202 w 4383905"/>
              <a:gd name="connsiteY15" fmla="*/ 1531951 h 1575917"/>
              <a:gd name="connsiteX16" fmla="*/ 1670539 w 4383905"/>
              <a:gd name="connsiteY16" fmla="*/ 1519889 h 1575917"/>
              <a:gd name="connsiteX17" fmla="*/ 2742005 w 4383905"/>
              <a:gd name="connsiteY17" fmla="*/ 1467214 h 1575917"/>
              <a:gd name="connsiteX18" fmla="*/ 2751858 w 4383905"/>
              <a:gd name="connsiteY18" fmla="*/ 1505553 h 1575917"/>
              <a:gd name="connsiteX19" fmla="*/ 2689044 w 4383905"/>
              <a:gd name="connsiteY19" fmla="*/ 1520888 h 1575917"/>
              <a:gd name="connsiteX20" fmla="*/ 2681654 w 4383905"/>
              <a:gd name="connsiteY20" fmla="*/ 1482549 h 1575917"/>
              <a:gd name="connsiteX21" fmla="*/ 2742005 w 4383905"/>
              <a:gd name="connsiteY21" fmla="*/ 1467214 h 1575917"/>
              <a:gd name="connsiteX22" fmla="*/ 1436572 w 4383905"/>
              <a:gd name="connsiteY22" fmla="*/ 1417759 h 1575917"/>
              <a:gd name="connsiteX23" fmla="*/ 1493481 w 4383905"/>
              <a:gd name="connsiteY23" fmla="*/ 1436076 h 1575917"/>
              <a:gd name="connsiteX24" fmla="*/ 1482584 w 4383905"/>
              <a:gd name="connsiteY24" fmla="*/ 1471490 h 1575917"/>
              <a:gd name="connsiteX25" fmla="*/ 1423253 w 4383905"/>
              <a:gd name="connsiteY25" fmla="*/ 1451951 h 1575917"/>
              <a:gd name="connsiteX26" fmla="*/ 2980350 w 4383905"/>
              <a:gd name="connsiteY26" fmla="*/ 1395779 h 1575917"/>
              <a:gd name="connsiteX27" fmla="*/ 2993668 w 4383905"/>
              <a:gd name="connsiteY27" fmla="*/ 1433075 h 1575917"/>
              <a:gd name="connsiteX28" fmla="*/ 2935551 w 4383905"/>
              <a:gd name="connsiteY28" fmla="*/ 1454938 h 1575917"/>
              <a:gd name="connsiteX29" fmla="*/ 2923443 w 4383905"/>
              <a:gd name="connsiteY29" fmla="*/ 1417642 h 1575917"/>
              <a:gd name="connsiteX30" fmla="*/ 2980350 w 4383905"/>
              <a:gd name="connsiteY30" fmla="*/ 1395779 h 1575917"/>
              <a:gd name="connsiteX31" fmla="*/ 1203631 w 4383905"/>
              <a:gd name="connsiteY31" fmla="*/ 1324339 h 1575917"/>
              <a:gd name="connsiteX32" fmla="*/ 1262613 w 4383905"/>
              <a:gd name="connsiteY32" fmla="*/ 1348519 h 1575917"/>
              <a:gd name="connsiteX33" fmla="*/ 1247226 w 4383905"/>
              <a:gd name="connsiteY33" fmla="*/ 1383579 h 1575917"/>
              <a:gd name="connsiteX34" fmla="*/ 1186962 w 4383905"/>
              <a:gd name="connsiteY34" fmla="*/ 1356981 h 1575917"/>
              <a:gd name="connsiteX35" fmla="*/ 3211941 w 4383905"/>
              <a:gd name="connsiteY35" fmla="*/ 1296865 h 1575917"/>
              <a:gd name="connsiteX36" fmla="*/ 3229892 w 4383905"/>
              <a:gd name="connsiteY36" fmla="*/ 1328296 h 1575917"/>
              <a:gd name="connsiteX37" fmla="*/ 3170910 w 4383905"/>
              <a:gd name="connsiteY37" fmla="*/ 1356101 h 1575917"/>
              <a:gd name="connsiteX38" fmla="*/ 3154241 w 4383905"/>
              <a:gd name="connsiteY38" fmla="*/ 1323461 h 1575917"/>
              <a:gd name="connsiteX39" fmla="*/ 3211941 w 4383905"/>
              <a:gd name="connsiteY39" fmla="*/ 1296865 h 1575917"/>
              <a:gd name="connsiteX40" fmla="*/ 982172 w 4383905"/>
              <a:gd name="connsiteY40" fmla="*/ 1203445 h 1575917"/>
              <a:gd name="connsiteX41" fmla="*/ 1037308 w 4383905"/>
              <a:gd name="connsiteY41" fmla="*/ 1234550 h 1575917"/>
              <a:gd name="connsiteX42" fmla="*/ 1018075 w 4383905"/>
              <a:gd name="connsiteY42" fmla="*/ 1268143 h 1575917"/>
              <a:gd name="connsiteX43" fmla="*/ 961657 w 4383905"/>
              <a:gd name="connsiteY43" fmla="*/ 1235794 h 1575917"/>
              <a:gd name="connsiteX44" fmla="*/ 3428279 w 4383905"/>
              <a:gd name="connsiteY44" fmla="*/ 1170474 h 1575917"/>
              <a:gd name="connsiteX45" fmla="*/ 3449720 w 4383905"/>
              <a:gd name="connsiteY45" fmla="*/ 1201003 h 1575917"/>
              <a:gd name="connsiteX46" fmla="*/ 3394227 w 4383905"/>
              <a:gd name="connsiteY46" fmla="*/ 1235195 h 1575917"/>
              <a:gd name="connsiteX47" fmla="*/ 3374048 w 4383905"/>
              <a:gd name="connsiteY47" fmla="*/ 1203445 h 1575917"/>
              <a:gd name="connsiteX48" fmla="*/ 3428279 w 4383905"/>
              <a:gd name="connsiteY48" fmla="*/ 1170474 h 1575917"/>
              <a:gd name="connsiteX49" fmla="*/ 775920 w 4383905"/>
              <a:gd name="connsiteY49" fmla="*/ 1060570 h 1575917"/>
              <a:gd name="connsiteX50" fmla="*/ 828491 w 4383905"/>
              <a:gd name="connsiteY50" fmla="*/ 1098841 h 1575917"/>
              <a:gd name="connsiteX51" fmla="*/ 805411 w 4383905"/>
              <a:gd name="connsiteY51" fmla="*/ 1130733 h 1575917"/>
              <a:gd name="connsiteX52" fmla="*/ 752840 w 4383905"/>
              <a:gd name="connsiteY52" fmla="*/ 1091187 h 1575917"/>
              <a:gd name="connsiteX53" fmla="*/ 3630086 w 4383905"/>
              <a:gd name="connsiteY53" fmla="*/ 1016609 h 1575917"/>
              <a:gd name="connsiteX54" fmla="*/ 3653091 w 4383905"/>
              <a:gd name="connsiteY54" fmla="*/ 1046689 h 1575917"/>
              <a:gd name="connsiteX55" fmla="*/ 3605871 w 4383905"/>
              <a:gd name="connsiteY55" fmla="*/ 1086795 h 1575917"/>
              <a:gd name="connsiteX56" fmla="*/ 3582866 w 4383905"/>
              <a:gd name="connsiteY56" fmla="*/ 1056715 h 1575917"/>
              <a:gd name="connsiteX57" fmla="*/ 3630086 w 4383905"/>
              <a:gd name="connsiteY57" fmla="*/ 1016609 h 1575917"/>
              <a:gd name="connsiteX58" fmla="*/ 580440 w 4383905"/>
              <a:gd name="connsiteY58" fmla="*/ 895714 h 1575917"/>
              <a:gd name="connsiteX59" fmla="*/ 625241 w 4383905"/>
              <a:gd name="connsiteY59" fmla="*/ 938824 h 1575917"/>
              <a:gd name="connsiteX60" fmla="*/ 601024 w 4383905"/>
              <a:gd name="connsiteY60" fmla="*/ 965922 h 1575917"/>
              <a:gd name="connsiteX61" fmla="*/ 555013 w 4383905"/>
              <a:gd name="connsiteY61" fmla="*/ 922812 h 1575917"/>
              <a:gd name="connsiteX62" fmla="*/ 3819997 w 4383905"/>
              <a:gd name="connsiteY62" fmla="*/ 851753 h 1575917"/>
              <a:gd name="connsiteX63" fmla="*/ 3845424 w 4383905"/>
              <a:gd name="connsiteY63" fmla="*/ 877181 h 1575917"/>
              <a:gd name="connsiteX64" fmla="*/ 3801834 w 4383905"/>
              <a:gd name="connsiteY64" fmla="*/ 921981 h 1575917"/>
              <a:gd name="connsiteX65" fmla="*/ 3775196 w 4383905"/>
              <a:gd name="connsiteY65" fmla="*/ 895343 h 1575917"/>
              <a:gd name="connsiteX66" fmla="*/ 3819997 w 4383905"/>
              <a:gd name="connsiteY66" fmla="*/ 851753 h 1575917"/>
              <a:gd name="connsiteX67" fmla="*/ 413488 w 4383905"/>
              <a:gd name="connsiteY67" fmla="*/ 708878 h 1575917"/>
              <a:gd name="connsiteX68" fmla="*/ 454845 w 4383905"/>
              <a:gd name="connsiteY68" fmla="*/ 754890 h 1575917"/>
              <a:gd name="connsiteX69" fmla="*/ 426020 w 4383905"/>
              <a:gd name="connsiteY69" fmla="*/ 779106 h 1575917"/>
              <a:gd name="connsiteX70" fmla="*/ 384663 w 4383905"/>
              <a:gd name="connsiteY70" fmla="*/ 731884 h 1575917"/>
              <a:gd name="connsiteX71" fmla="*/ 3985652 w 4383905"/>
              <a:gd name="connsiteY71" fmla="*/ 659423 h 1575917"/>
              <a:gd name="connsiteX72" fmla="*/ 4015731 w 4383905"/>
              <a:gd name="connsiteY72" fmla="*/ 683785 h 1575917"/>
              <a:gd name="connsiteX73" fmla="*/ 3974373 w 4383905"/>
              <a:gd name="connsiteY73" fmla="*/ 735074 h 1575917"/>
              <a:gd name="connsiteX74" fmla="*/ 3945548 w 4383905"/>
              <a:gd name="connsiteY74" fmla="*/ 710712 h 1575917"/>
              <a:gd name="connsiteX75" fmla="*/ 3985652 w 4383905"/>
              <a:gd name="connsiteY75" fmla="*/ 659423 h 1575917"/>
              <a:gd name="connsiteX76" fmla="*/ 260771 w 4383905"/>
              <a:gd name="connsiteY76" fmla="*/ 511051 h 1575917"/>
              <a:gd name="connsiteX77" fmla="*/ 295541 w 4383905"/>
              <a:gd name="connsiteY77" fmla="*/ 563622 h 1575917"/>
              <a:gd name="connsiteX78" fmla="*/ 265567 w 4383905"/>
              <a:gd name="connsiteY78" fmla="*/ 586702 h 1575917"/>
              <a:gd name="connsiteX79" fmla="*/ 230798 w 4383905"/>
              <a:gd name="connsiteY79" fmla="*/ 532849 h 1575917"/>
              <a:gd name="connsiteX80" fmla="*/ 4126888 w 4383905"/>
              <a:gd name="connsiteY80" fmla="*/ 456099 h 1575917"/>
              <a:gd name="connsiteX81" fmla="*/ 4158638 w 4383905"/>
              <a:gd name="connsiteY81" fmla="*/ 476278 h 1575917"/>
              <a:gd name="connsiteX82" fmla="*/ 4124446 w 4383905"/>
              <a:gd name="connsiteY82" fmla="*/ 531771 h 1575917"/>
              <a:gd name="connsiteX83" fmla="*/ 4093917 w 4383905"/>
              <a:gd name="connsiteY83" fmla="*/ 510331 h 1575917"/>
              <a:gd name="connsiteX84" fmla="*/ 4126888 w 4383905"/>
              <a:gd name="connsiteY84" fmla="*/ 456099 h 1575917"/>
              <a:gd name="connsiteX85" fmla="*/ 133152 w 4383905"/>
              <a:gd name="connsiteY85" fmla="*/ 291243 h 1575917"/>
              <a:gd name="connsiteX86" fmla="*/ 163587 w 4383905"/>
              <a:gd name="connsiteY86" fmla="*/ 347997 h 1575917"/>
              <a:gd name="connsiteX87" fmla="*/ 129348 w 4383905"/>
              <a:gd name="connsiteY87" fmla="*/ 366915 h 1575917"/>
              <a:gd name="connsiteX88" fmla="*/ 98913 w 4383905"/>
              <a:gd name="connsiteY88" fmla="*/ 308900 h 1575917"/>
              <a:gd name="connsiteX89" fmla="*/ 4254248 w 4383905"/>
              <a:gd name="connsiteY89" fmla="*/ 236291 h 1575917"/>
              <a:gd name="connsiteX90" fmla="*/ 4290451 w 4383905"/>
              <a:gd name="connsiteY90" fmla="*/ 252960 h 1575917"/>
              <a:gd name="connsiteX91" fmla="*/ 4260712 w 4383905"/>
              <a:gd name="connsiteY91" fmla="*/ 311942 h 1575917"/>
              <a:gd name="connsiteX92" fmla="*/ 4225802 w 4383905"/>
              <a:gd name="connsiteY92" fmla="*/ 293991 h 1575917"/>
              <a:gd name="connsiteX93" fmla="*/ 4254248 w 4383905"/>
              <a:gd name="connsiteY93" fmla="*/ 236291 h 1575917"/>
              <a:gd name="connsiteX94" fmla="*/ 35259 w 4383905"/>
              <a:gd name="connsiteY94" fmla="*/ 60445 h 1575917"/>
              <a:gd name="connsiteX95" fmla="*/ 59185 w 4383905"/>
              <a:gd name="connsiteY95" fmla="*/ 120709 h 1575917"/>
              <a:gd name="connsiteX96" fmla="*/ 23926 w 4383905"/>
              <a:gd name="connsiteY96" fmla="*/ 136096 h 1575917"/>
              <a:gd name="connsiteX97" fmla="*/ 0 w 4383905"/>
              <a:gd name="connsiteY97" fmla="*/ 74550 h 1575917"/>
              <a:gd name="connsiteX98" fmla="*/ 4346124 w 4383905"/>
              <a:gd name="connsiteY98" fmla="*/ 0 h 1575917"/>
              <a:gd name="connsiteX99" fmla="*/ 4383905 w 4383905"/>
              <a:gd name="connsiteY99" fmla="*/ 12108 h 1575917"/>
              <a:gd name="connsiteX100" fmla="*/ 4361236 w 4383905"/>
              <a:gd name="connsiteY100" fmla="*/ 70225 h 1575917"/>
              <a:gd name="connsiteX101" fmla="*/ 4324715 w 4383905"/>
              <a:gd name="connsiteY101" fmla="*/ 56907 h 1575917"/>
              <a:gd name="connsiteX102" fmla="*/ 4346124 w 4383905"/>
              <a:gd name="connsiteY102" fmla="*/ 0 h 1575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</a:cxnLst>
            <a:rect l="l" t="t" r="r" b="b"/>
            <a:pathLst>
              <a:path w="4383905" h="1575917">
                <a:moveTo>
                  <a:pt x="2181590" y="1538654"/>
                </a:moveTo>
                <a:cubicBezTo>
                  <a:pt x="2203148" y="1538654"/>
                  <a:pt x="2224706" y="1538654"/>
                  <a:pt x="2244996" y="1538654"/>
                </a:cubicBezTo>
                <a:lnTo>
                  <a:pt x="2246264" y="1574715"/>
                </a:lnTo>
                <a:cubicBezTo>
                  <a:pt x="2224706" y="1575917"/>
                  <a:pt x="2203148" y="1575917"/>
                  <a:pt x="2181590" y="1575917"/>
                </a:cubicBezTo>
                <a:close/>
                <a:moveTo>
                  <a:pt x="1926914" y="1527663"/>
                </a:moveTo>
                <a:cubicBezTo>
                  <a:pt x="1947296" y="1530105"/>
                  <a:pt x="1966479" y="1531327"/>
                  <a:pt x="1988060" y="1532548"/>
                </a:cubicBezTo>
                <a:lnTo>
                  <a:pt x="1984463" y="1570404"/>
                </a:lnTo>
                <a:cubicBezTo>
                  <a:pt x="1964081" y="1569183"/>
                  <a:pt x="1943699" y="1566740"/>
                  <a:pt x="1923317" y="1564298"/>
                </a:cubicBezTo>
                <a:close/>
                <a:moveTo>
                  <a:pt x="2488822" y="1516673"/>
                </a:moveTo>
                <a:lnTo>
                  <a:pt x="2493618" y="1557018"/>
                </a:lnTo>
                <a:cubicBezTo>
                  <a:pt x="2473236" y="1559621"/>
                  <a:pt x="2452854" y="1562224"/>
                  <a:pt x="2432472" y="1564827"/>
                </a:cubicBezTo>
                <a:lnTo>
                  <a:pt x="2428875" y="1525783"/>
                </a:lnTo>
                <a:cubicBezTo>
                  <a:pt x="2448058" y="1523180"/>
                  <a:pt x="2468440" y="1520577"/>
                  <a:pt x="2488822" y="1516673"/>
                </a:cubicBezTo>
                <a:close/>
                <a:moveTo>
                  <a:pt x="1679312" y="1483702"/>
                </a:moveTo>
                <a:cubicBezTo>
                  <a:pt x="1699364" y="1488527"/>
                  <a:pt x="1720670" y="1492146"/>
                  <a:pt x="1740722" y="1495764"/>
                </a:cubicBezTo>
                <a:lnTo>
                  <a:pt x="1733202" y="1531951"/>
                </a:lnTo>
                <a:cubicBezTo>
                  <a:pt x="1713150" y="1528332"/>
                  <a:pt x="1691844" y="1524713"/>
                  <a:pt x="1670539" y="1519889"/>
                </a:cubicBezTo>
                <a:close/>
                <a:moveTo>
                  <a:pt x="2742005" y="1467214"/>
                </a:moveTo>
                <a:lnTo>
                  <a:pt x="2751858" y="1505553"/>
                </a:lnTo>
                <a:cubicBezTo>
                  <a:pt x="2730920" y="1510664"/>
                  <a:pt x="2709982" y="1515776"/>
                  <a:pt x="2689044" y="1520888"/>
                </a:cubicBezTo>
                <a:lnTo>
                  <a:pt x="2681654" y="1482549"/>
                </a:lnTo>
                <a:cubicBezTo>
                  <a:pt x="2701360" y="1477438"/>
                  <a:pt x="2722299" y="1472326"/>
                  <a:pt x="2742005" y="1467214"/>
                </a:cubicBezTo>
                <a:close/>
                <a:moveTo>
                  <a:pt x="1436572" y="1417759"/>
                </a:moveTo>
                <a:cubicBezTo>
                  <a:pt x="1454735" y="1423865"/>
                  <a:pt x="1474108" y="1429971"/>
                  <a:pt x="1493481" y="1436076"/>
                </a:cubicBezTo>
                <a:lnTo>
                  <a:pt x="1482584" y="1471490"/>
                </a:lnTo>
                <a:cubicBezTo>
                  <a:pt x="1463210" y="1465384"/>
                  <a:pt x="1443837" y="1459278"/>
                  <a:pt x="1423253" y="1451951"/>
                </a:cubicBezTo>
                <a:close/>
                <a:moveTo>
                  <a:pt x="2980350" y="1395779"/>
                </a:moveTo>
                <a:lnTo>
                  <a:pt x="2993668" y="1433075"/>
                </a:lnTo>
                <a:cubicBezTo>
                  <a:pt x="2974296" y="1440791"/>
                  <a:pt x="2954923" y="1448508"/>
                  <a:pt x="2935551" y="1454938"/>
                </a:cubicBezTo>
                <a:lnTo>
                  <a:pt x="2923443" y="1417642"/>
                </a:lnTo>
                <a:cubicBezTo>
                  <a:pt x="2942815" y="1411212"/>
                  <a:pt x="2962188" y="1403495"/>
                  <a:pt x="2980350" y="1395779"/>
                </a:cubicBezTo>
                <a:close/>
                <a:moveTo>
                  <a:pt x="1203631" y="1324339"/>
                </a:moveTo>
                <a:cubicBezTo>
                  <a:pt x="1222864" y="1332802"/>
                  <a:pt x="1242097" y="1341265"/>
                  <a:pt x="1262613" y="1348519"/>
                </a:cubicBezTo>
                <a:lnTo>
                  <a:pt x="1247226" y="1383579"/>
                </a:lnTo>
                <a:cubicBezTo>
                  <a:pt x="1226711" y="1375116"/>
                  <a:pt x="1206195" y="1365444"/>
                  <a:pt x="1186962" y="1356981"/>
                </a:cubicBezTo>
                <a:close/>
                <a:moveTo>
                  <a:pt x="3211941" y="1296865"/>
                </a:moveTo>
                <a:lnTo>
                  <a:pt x="3229892" y="1328296"/>
                </a:lnTo>
                <a:cubicBezTo>
                  <a:pt x="3209376" y="1339177"/>
                  <a:pt x="3190143" y="1347639"/>
                  <a:pt x="3170910" y="1356101"/>
                </a:cubicBezTo>
                <a:lnTo>
                  <a:pt x="3154241" y="1323461"/>
                </a:lnTo>
                <a:cubicBezTo>
                  <a:pt x="3173474" y="1313790"/>
                  <a:pt x="3192708" y="1305327"/>
                  <a:pt x="3211941" y="1296865"/>
                </a:cubicBezTo>
                <a:close/>
                <a:moveTo>
                  <a:pt x="982172" y="1203445"/>
                </a:moveTo>
                <a:cubicBezTo>
                  <a:pt x="1000124" y="1213399"/>
                  <a:pt x="1019357" y="1224596"/>
                  <a:pt x="1037308" y="1234550"/>
                </a:cubicBezTo>
                <a:lnTo>
                  <a:pt x="1018075" y="1268143"/>
                </a:lnTo>
                <a:cubicBezTo>
                  <a:pt x="998841" y="1258189"/>
                  <a:pt x="980890" y="1246992"/>
                  <a:pt x="961657" y="1235794"/>
                </a:cubicBezTo>
                <a:close/>
                <a:moveTo>
                  <a:pt x="3428279" y="1170474"/>
                </a:moveTo>
                <a:lnTo>
                  <a:pt x="3449720" y="1201003"/>
                </a:lnTo>
                <a:cubicBezTo>
                  <a:pt x="3432063" y="1213214"/>
                  <a:pt x="3413145" y="1224205"/>
                  <a:pt x="3394227" y="1235195"/>
                </a:cubicBezTo>
                <a:lnTo>
                  <a:pt x="3374048" y="1203445"/>
                </a:lnTo>
                <a:cubicBezTo>
                  <a:pt x="3391705" y="1192455"/>
                  <a:pt x="3410623" y="1181464"/>
                  <a:pt x="3428279" y="1170474"/>
                </a:cubicBezTo>
                <a:close/>
                <a:moveTo>
                  <a:pt x="775920" y="1060570"/>
                </a:moveTo>
                <a:cubicBezTo>
                  <a:pt x="793871" y="1073327"/>
                  <a:pt x="810540" y="1086084"/>
                  <a:pt x="828491" y="1098841"/>
                </a:cubicBezTo>
                <a:lnTo>
                  <a:pt x="805411" y="1130733"/>
                </a:lnTo>
                <a:cubicBezTo>
                  <a:pt x="787460" y="1117977"/>
                  <a:pt x="770791" y="1105220"/>
                  <a:pt x="752840" y="1091187"/>
                </a:cubicBezTo>
                <a:close/>
                <a:moveTo>
                  <a:pt x="3630086" y="1016609"/>
                </a:moveTo>
                <a:lnTo>
                  <a:pt x="3653091" y="1046689"/>
                </a:lnTo>
                <a:cubicBezTo>
                  <a:pt x="3638562" y="1060475"/>
                  <a:pt x="3621611" y="1074262"/>
                  <a:pt x="3605871" y="1086795"/>
                </a:cubicBezTo>
                <a:lnTo>
                  <a:pt x="3582866" y="1056715"/>
                </a:lnTo>
                <a:cubicBezTo>
                  <a:pt x="3598606" y="1044182"/>
                  <a:pt x="3614346" y="1030396"/>
                  <a:pt x="3630086" y="1016609"/>
                </a:cubicBezTo>
                <a:close/>
                <a:moveTo>
                  <a:pt x="580440" y="895714"/>
                </a:moveTo>
                <a:cubicBezTo>
                  <a:pt x="596181" y="909263"/>
                  <a:pt x="610711" y="924044"/>
                  <a:pt x="625241" y="938824"/>
                </a:cubicBezTo>
                <a:lnTo>
                  <a:pt x="601024" y="965922"/>
                </a:lnTo>
                <a:cubicBezTo>
                  <a:pt x="585284" y="952373"/>
                  <a:pt x="569543" y="936361"/>
                  <a:pt x="555013" y="922812"/>
                </a:cubicBezTo>
                <a:close/>
                <a:moveTo>
                  <a:pt x="3819997" y="851753"/>
                </a:moveTo>
                <a:lnTo>
                  <a:pt x="3845424" y="877181"/>
                </a:lnTo>
                <a:cubicBezTo>
                  <a:pt x="3830894" y="892921"/>
                  <a:pt x="3816364" y="907451"/>
                  <a:pt x="3801834" y="921981"/>
                </a:cubicBezTo>
                <a:lnTo>
                  <a:pt x="3775196" y="895343"/>
                </a:lnTo>
                <a:cubicBezTo>
                  <a:pt x="3790937" y="882024"/>
                  <a:pt x="3804256" y="866283"/>
                  <a:pt x="3819997" y="851753"/>
                </a:cubicBezTo>
                <a:close/>
                <a:moveTo>
                  <a:pt x="413488" y="708878"/>
                </a:moveTo>
                <a:cubicBezTo>
                  <a:pt x="427274" y="723408"/>
                  <a:pt x="441060" y="739149"/>
                  <a:pt x="454845" y="754890"/>
                </a:cubicBezTo>
                <a:lnTo>
                  <a:pt x="426020" y="779106"/>
                </a:lnTo>
                <a:cubicBezTo>
                  <a:pt x="412235" y="763366"/>
                  <a:pt x="398449" y="747625"/>
                  <a:pt x="384663" y="731884"/>
                </a:cubicBezTo>
                <a:close/>
                <a:moveTo>
                  <a:pt x="3985652" y="659423"/>
                </a:moveTo>
                <a:lnTo>
                  <a:pt x="4015731" y="683785"/>
                </a:lnTo>
                <a:cubicBezTo>
                  <a:pt x="4001945" y="701736"/>
                  <a:pt x="3988159" y="718405"/>
                  <a:pt x="3974373" y="735074"/>
                </a:cubicBezTo>
                <a:lnTo>
                  <a:pt x="3945548" y="710712"/>
                </a:lnTo>
                <a:cubicBezTo>
                  <a:pt x="3959334" y="694043"/>
                  <a:pt x="3973120" y="677374"/>
                  <a:pt x="3985652" y="659423"/>
                </a:cubicBezTo>
                <a:close/>
                <a:moveTo>
                  <a:pt x="260771" y="511051"/>
                </a:moveTo>
                <a:cubicBezTo>
                  <a:pt x="272761" y="527720"/>
                  <a:pt x="283551" y="546953"/>
                  <a:pt x="295541" y="563622"/>
                </a:cubicBezTo>
                <a:lnTo>
                  <a:pt x="265567" y="586702"/>
                </a:lnTo>
                <a:cubicBezTo>
                  <a:pt x="253578" y="568751"/>
                  <a:pt x="242787" y="550800"/>
                  <a:pt x="230798" y="532849"/>
                </a:cubicBezTo>
                <a:close/>
                <a:moveTo>
                  <a:pt x="4126888" y="456099"/>
                </a:moveTo>
                <a:lnTo>
                  <a:pt x="4158638" y="476278"/>
                </a:lnTo>
                <a:cubicBezTo>
                  <a:pt x="4147648" y="495196"/>
                  <a:pt x="4135436" y="512853"/>
                  <a:pt x="4124446" y="531771"/>
                </a:cubicBezTo>
                <a:lnTo>
                  <a:pt x="4093917" y="510331"/>
                </a:lnTo>
                <a:cubicBezTo>
                  <a:pt x="4104907" y="491413"/>
                  <a:pt x="4115898" y="473756"/>
                  <a:pt x="4126888" y="456099"/>
                </a:cubicBezTo>
                <a:close/>
                <a:moveTo>
                  <a:pt x="133152" y="291243"/>
                </a:moveTo>
                <a:cubicBezTo>
                  <a:pt x="143297" y="310161"/>
                  <a:pt x="153442" y="329079"/>
                  <a:pt x="163587" y="347997"/>
                </a:cubicBezTo>
                <a:lnTo>
                  <a:pt x="129348" y="366915"/>
                </a:lnTo>
                <a:cubicBezTo>
                  <a:pt x="119203" y="347997"/>
                  <a:pt x="109058" y="329079"/>
                  <a:pt x="98913" y="308900"/>
                </a:cubicBezTo>
                <a:close/>
                <a:moveTo>
                  <a:pt x="4254248" y="236291"/>
                </a:moveTo>
                <a:lnTo>
                  <a:pt x="4290451" y="252960"/>
                </a:lnTo>
                <a:cubicBezTo>
                  <a:pt x="4281400" y="273476"/>
                  <a:pt x="4271056" y="292709"/>
                  <a:pt x="4260712" y="311942"/>
                </a:cubicBezTo>
                <a:lnTo>
                  <a:pt x="4225802" y="293991"/>
                </a:lnTo>
                <a:cubicBezTo>
                  <a:pt x="4236146" y="276040"/>
                  <a:pt x="4245197" y="255524"/>
                  <a:pt x="4254248" y="236291"/>
                </a:cubicBezTo>
                <a:close/>
                <a:moveTo>
                  <a:pt x="35259" y="60445"/>
                </a:moveTo>
                <a:cubicBezTo>
                  <a:pt x="42815" y="79678"/>
                  <a:pt x="51630" y="100194"/>
                  <a:pt x="59185" y="120709"/>
                </a:cubicBezTo>
                <a:lnTo>
                  <a:pt x="23926" y="136096"/>
                </a:lnTo>
                <a:cubicBezTo>
                  <a:pt x="15111" y="115581"/>
                  <a:pt x="7555" y="95065"/>
                  <a:pt x="0" y="74550"/>
                </a:cubicBezTo>
                <a:close/>
                <a:moveTo>
                  <a:pt x="4346124" y="0"/>
                </a:moveTo>
                <a:lnTo>
                  <a:pt x="4383905" y="12108"/>
                </a:lnTo>
                <a:cubicBezTo>
                  <a:pt x="4376349" y="32691"/>
                  <a:pt x="4368792" y="52064"/>
                  <a:pt x="4361236" y="70225"/>
                </a:cubicBezTo>
                <a:lnTo>
                  <a:pt x="4324715" y="56907"/>
                </a:lnTo>
                <a:cubicBezTo>
                  <a:pt x="4332271" y="38745"/>
                  <a:pt x="4339827" y="19373"/>
                  <a:pt x="434612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de-DE" sz="900" dirty="0"/>
          </a:p>
        </p:txBody>
      </p:sp>
      <p:sp>
        <p:nvSpPr>
          <p:cNvPr id="11" name="Freeform 123">
            <a:extLst>
              <a:ext uri="{FF2B5EF4-FFF2-40B4-BE49-F238E27FC236}">
                <a16:creationId xmlns:a16="http://schemas.microsoft.com/office/drawing/2014/main" id="{A967C3A0-F00F-3949-8709-B9619765EE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13697" y="2594355"/>
            <a:ext cx="2698333" cy="2695177"/>
          </a:xfrm>
          <a:custGeom>
            <a:avLst/>
            <a:gdLst>
              <a:gd name="T0" fmla="*/ 1885 w 3770"/>
              <a:gd name="T1" fmla="*/ 3767 h 3768"/>
              <a:gd name="T2" fmla="*/ 1885 w 3770"/>
              <a:gd name="T3" fmla="*/ 3767 h 3768"/>
              <a:gd name="T4" fmla="*/ 0 w 3770"/>
              <a:gd name="T5" fmla="*/ 1884 h 3768"/>
              <a:gd name="T6" fmla="*/ 0 w 3770"/>
              <a:gd name="T7" fmla="*/ 1884 h 3768"/>
              <a:gd name="T8" fmla="*/ 1885 w 3770"/>
              <a:gd name="T9" fmla="*/ 0 h 3768"/>
              <a:gd name="T10" fmla="*/ 1885 w 3770"/>
              <a:gd name="T11" fmla="*/ 51 h 3768"/>
              <a:gd name="T12" fmla="*/ 1885 w 3770"/>
              <a:gd name="T13" fmla="*/ 51 h 3768"/>
              <a:gd name="T14" fmla="*/ 51 w 3770"/>
              <a:gd name="T15" fmla="*/ 1884 h 3768"/>
              <a:gd name="T16" fmla="*/ 51 w 3770"/>
              <a:gd name="T17" fmla="*/ 1884 h 3768"/>
              <a:gd name="T18" fmla="*/ 1885 w 3770"/>
              <a:gd name="T19" fmla="*/ 3717 h 3768"/>
              <a:gd name="T20" fmla="*/ 1885 w 3770"/>
              <a:gd name="T21" fmla="*/ 3717 h 3768"/>
              <a:gd name="T22" fmla="*/ 3717 w 3770"/>
              <a:gd name="T23" fmla="*/ 1884 h 3768"/>
              <a:gd name="T24" fmla="*/ 3769 w 3770"/>
              <a:gd name="T25" fmla="*/ 1884 h 3768"/>
              <a:gd name="T26" fmla="*/ 3769 w 3770"/>
              <a:gd name="T27" fmla="*/ 1884 h 3768"/>
              <a:gd name="T28" fmla="*/ 1885 w 3770"/>
              <a:gd name="T29" fmla="*/ 3767 h 3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770" h="3768">
                <a:moveTo>
                  <a:pt x="1885" y="3767"/>
                </a:moveTo>
                <a:lnTo>
                  <a:pt x="1885" y="3767"/>
                </a:lnTo>
                <a:cubicBezTo>
                  <a:pt x="846" y="3767"/>
                  <a:pt x="0" y="2922"/>
                  <a:pt x="0" y="1884"/>
                </a:cubicBezTo>
                <a:lnTo>
                  <a:pt x="0" y="1884"/>
                </a:lnTo>
                <a:cubicBezTo>
                  <a:pt x="0" y="845"/>
                  <a:pt x="846" y="0"/>
                  <a:pt x="1885" y="0"/>
                </a:cubicBezTo>
                <a:lnTo>
                  <a:pt x="1885" y="51"/>
                </a:lnTo>
                <a:lnTo>
                  <a:pt x="1885" y="51"/>
                </a:lnTo>
                <a:cubicBezTo>
                  <a:pt x="874" y="51"/>
                  <a:pt x="51" y="873"/>
                  <a:pt x="51" y="1884"/>
                </a:cubicBezTo>
                <a:lnTo>
                  <a:pt x="51" y="1884"/>
                </a:lnTo>
                <a:cubicBezTo>
                  <a:pt x="51" y="2894"/>
                  <a:pt x="874" y="3717"/>
                  <a:pt x="1885" y="3717"/>
                </a:cubicBezTo>
                <a:lnTo>
                  <a:pt x="1885" y="3717"/>
                </a:lnTo>
                <a:cubicBezTo>
                  <a:pt x="2895" y="3717"/>
                  <a:pt x="3717" y="2894"/>
                  <a:pt x="3717" y="1884"/>
                </a:cubicBezTo>
                <a:lnTo>
                  <a:pt x="3769" y="1884"/>
                </a:lnTo>
                <a:lnTo>
                  <a:pt x="3769" y="1884"/>
                </a:lnTo>
                <a:cubicBezTo>
                  <a:pt x="3769" y="2922"/>
                  <a:pt x="2924" y="3767"/>
                  <a:pt x="1885" y="3767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900" dirty="0"/>
          </a:p>
        </p:txBody>
      </p:sp>
      <p:sp>
        <p:nvSpPr>
          <p:cNvPr id="12" name="Freeform 124">
            <a:extLst>
              <a:ext uri="{FF2B5EF4-FFF2-40B4-BE49-F238E27FC236}">
                <a16:creationId xmlns:a16="http://schemas.microsoft.com/office/drawing/2014/main" id="{A868A8DA-7C6B-C74B-B537-B1EFC6B156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74159" y="2594355"/>
            <a:ext cx="2698335" cy="1347590"/>
          </a:xfrm>
          <a:custGeom>
            <a:avLst/>
            <a:gdLst>
              <a:gd name="T0" fmla="*/ 3768 w 3769"/>
              <a:gd name="T1" fmla="*/ 1884 h 1885"/>
              <a:gd name="T2" fmla="*/ 3718 w 3769"/>
              <a:gd name="T3" fmla="*/ 1884 h 1885"/>
              <a:gd name="T4" fmla="*/ 3718 w 3769"/>
              <a:gd name="T5" fmla="*/ 1884 h 1885"/>
              <a:gd name="T6" fmla="*/ 1884 w 3769"/>
              <a:gd name="T7" fmla="*/ 51 h 1885"/>
              <a:gd name="T8" fmla="*/ 1884 w 3769"/>
              <a:gd name="T9" fmla="*/ 51 h 1885"/>
              <a:gd name="T10" fmla="*/ 52 w 3769"/>
              <a:gd name="T11" fmla="*/ 1884 h 1885"/>
              <a:gd name="T12" fmla="*/ 0 w 3769"/>
              <a:gd name="T13" fmla="*/ 1884 h 1885"/>
              <a:gd name="T14" fmla="*/ 0 w 3769"/>
              <a:gd name="T15" fmla="*/ 1884 h 1885"/>
              <a:gd name="T16" fmla="*/ 1884 w 3769"/>
              <a:gd name="T17" fmla="*/ 0 h 1885"/>
              <a:gd name="T18" fmla="*/ 1884 w 3769"/>
              <a:gd name="T19" fmla="*/ 0 h 1885"/>
              <a:gd name="T20" fmla="*/ 3768 w 3769"/>
              <a:gd name="T21" fmla="*/ 1884 h 18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769" h="1885">
                <a:moveTo>
                  <a:pt x="3768" y="1884"/>
                </a:moveTo>
                <a:lnTo>
                  <a:pt x="3718" y="1884"/>
                </a:lnTo>
                <a:lnTo>
                  <a:pt x="3718" y="1884"/>
                </a:lnTo>
                <a:cubicBezTo>
                  <a:pt x="3718" y="873"/>
                  <a:pt x="2895" y="51"/>
                  <a:pt x="1884" y="51"/>
                </a:cubicBezTo>
                <a:lnTo>
                  <a:pt x="1884" y="51"/>
                </a:lnTo>
                <a:cubicBezTo>
                  <a:pt x="874" y="51"/>
                  <a:pt x="52" y="873"/>
                  <a:pt x="52" y="1884"/>
                </a:cubicBezTo>
                <a:lnTo>
                  <a:pt x="0" y="1884"/>
                </a:lnTo>
                <a:lnTo>
                  <a:pt x="0" y="1884"/>
                </a:lnTo>
                <a:cubicBezTo>
                  <a:pt x="0" y="845"/>
                  <a:pt x="845" y="0"/>
                  <a:pt x="1884" y="0"/>
                </a:cubicBezTo>
                <a:lnTo>
                  <a:pt x="1884" y="0"/>
                </a:lnTo>
                <a:cubicBezTo>
                  <a:pt x="2923" y="0"/>
                  <a:pt x="3768" y="845"/>
                  <a:pt x="3768" y="1884"/>
                </a:cubicBez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900" dirty="0"/>
          </a:p>
        </p:txBody>
      </p:sp>
      <p:sp>
        <p:nvSpPr>
          <p:cNvPr id="13" name="Freeform 125">
            <a:extLst>
              <a:ext uri="{FF2B5EF4-FFF2-40B4-BE49-F238E27FC236}">
                <a16:creationId xmlns:a16="http://schemas.microsoft.com/office/drawing/2014/main" id="{A8C49070-0BC5-4B47-91E7-3CBA76AB8D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34622" y="3941944"/>
            <a:ext cx="2695178" cy="1347588"/>
          </a:xfrm>
          <a:custGeom>
            <a:avLst/>
            <a:gdLst>
              <a:gd name="T0" fmla="*/ 1883 w 3768"/>
              <a:gd name="T1" fmla="*/ 1883 h 1884"/>
              <a:gd name="T2" fmla="*/ 1883 w 3768"/>
              <a:gd name="T3" fmla="*/ 1883 h 1884"/>
              <a:gd name="T4" fmla="*/ 0 w 3768"/>
              <a:gd name="T5" fmla="*/ 0 h 1884"/>
              <a:gd name="T6" fmla="*/ 50 w 3768"/>
              <a:gd name="T7" fmla="*/ 0 h 1884"/>
              <a:gd name="T8" fmla="*/ 50 w 3768"/>
              <a:gd name="T9" fmla="*/ 0 h 1884"/>
              <a:gd name="T10" fmla="*/ 1883 w 3768"/>
              <a:gd name="T11" fmla="*/ 1833 h 1884"/>
              <a:gd name="T12" fmla="*/ 1883 w 3768"/>
              <a:gd name="T13" fmla="*/ 1833 h 1884"/>
              <a:gd name="T14" fmla="*/ 3716 w 3768"/>
              <a:gd name="T15" fmla="*/ 0 h 1884"/>
              <a:gd name="T16" fmla="*/ 3767 w 3768"/>
              <a:gd name="T17" fmla="*/ 0 h 1884"/>
              <a:gd name="T18" fmla="*/ 3767 w 3768"/>
              <a:gd name="T19" fmla="*/ 0 h 1884"/>
              <a:gd name="T20" fmla="*/ 1883 w 3768"/>
              <a:gd name="T21" fmla="*/ 1883 h 1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768" h="1884">
                <a:moveTo>
                  <a:pt x="1883" y="1883"/>
                </a:moveTo>
                <a:lnTo>
                  <a:pt x="1883" y="1883"/>
                </a:lnTo>
                <a:cubicBezTo>
                  <a:pt x="844" y="1883"/>
                  <a:pt x="0" y="1038"/>
                  <a:pt x="0" y="0"/>
                </a:cubicBezTo>
                <a:lnTo>
                  <a:pt x="50" y="0"/>
                </a:lnTo>
                <a:lnTo>
                  <a:pt x="50" y="0"/>
                </a:lnTo>
                <a:cubicBezTo>
                  <a:pt x="50" y="1010"/>
                  <a:pt x="872" y="1833"/>
                  <a:pt x="1883" y="1833"/>
                </a:cubicBezTo>
                <a:lnTo>
                  <a:pt x="1883" y="1833"/>
                </a:lnTo>
                <a:cubicBezTo>
                  <a:pt x="2894" y="1833"/>
                  <a:pt x="3716" y="1010"/>
                  <a:pt x="3716" y="0"/>
                </a:cubicBezTo>
                <a:lnTo>
                  <a:pt x="3767" y="0"/>
                </a:lnTo>
                <a:lnTo>
                  <a:pt x="3767" y="0"/>
                </a:lnTo>
                <a:cubicBezTo>
                  <a:pt x="3767" y="1038"/>
                  <a:pt x="2922" y="1883"/>
                  <a:pt x="1883" y="1883"/>
                </a:cubicBez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900" dirty="0"/>
          </a:p>
        </p:txBody>
      </p:sp>
      <p:sp>
        <p:nvSpPr>
          <p:cNvPr id="15" name="Freeform: Shape 608">
            <a:extLst>
              <a:ext uri="{FF2B5EF4-FFF2-40B4-BE49-F238E27FC236}">
                <a16:creationId xmlns:a16="http://schemas.microsoft.com/office/drawing/2014/main" id="{851B56D5-E063-0643-B154-951B342068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16677" y="2600667"/>
            <a:ext cx="2520877" cy="905021"/>
          </a:xfrm>
          <a:custGeom>
            <a:avLst/>
            <a:gdLst>
              <a:gd name="connsiteX0" fmla="*/ 22667 w 4389398"/>
              <a:gd name="connsiteY0" fmla="*/ 1500189 h 1575840"/>
              <a:gd name="connsiteX1" fmla="*/ 59186 w 4389398"/>
              <a:gd name="connsiteY1" fmla="*/ 1514294 h 1575840"/>
              <a:gd name="connsiteX2" fmla="*/ 36519 w 4389398"/>
              <a:gd name="connsiteY2" fmla="*/ 1575840 h 1575840"/>
              <a:gd name="connsiteX3" fmla="*/ 0 w 4389398"/>
              <a:gd name="connsiteY3" fmla="*/ 1561736 h 1575840"/>
              <a:gd name="connsiteX4" fmla="*/ 22667 w 4389398"/>
              <a:gd name="connsiteY4" fmla="*/ 1500189 h 1575840"/>
              <a:gd name="connsiteX5" fmla="*/ 4365472 w 4389398"/>
              <a:gd name="connsiteY5" fmla="*/ 1445237 h 1575840"/>
              <a:gd name="connsiteX6" fmla="*/ 4389398 w 4389398"/>
              <a:gd name="connsiteY6" fmla="*/ 1506784 h 1575840"/>
              <a:gd name="connsiteX7" fmla="*/ 4354138 w 4389398"/>
              <a:gd name="connsiteY7" fmla="*/ 1520888 h 1575840"/>
              <a:gd name="connsiteX8" fmla="*/ 4330212 w 4389398"/>
              <a:gd name="connsiteY8" fmla="*/ 1460624 h 1575840"/>
              <a:gd name="connsiteX9" fmla="*/ 127359 w 4389398"/>
              <a:gd name="connsiteY9" fmla="*/ 1269391 h 1575840"/>
              <a:gd name="connsiteX10" fmla="*/ 163562 w 4389398"/>
              <a:gd name="connsiteY10" fmla="*/ 1287048 h 1575840"/>
              <a:gd name="connsiteX11" fmla="*/ 133823 w 4389398"/>
              <a:gd name="connsiteY11" fmla="*/ 1345063 h 1575840"/>
              <a:gd name="connsiteX12" fmla="*/ 98913 w 4389398"/>
              <a:gd name="connsiteY12" fmla="*/ 1328667 h 1575840"/>
              <a:gd name="connsiteX13" fmla="*/ 127359 w 4389398"/>
              <a:gd name="connsiteY13" fmla="*/ 1269391 h 1575840"/>
              <a:gd name="connsiteX14" fmla="*/ 4255218 w 4389398"/>
              <a:gd name="connsiteY14" fmla="*/ 1214439 h 1575840"/>
              <a:gd name="connsiteX15" fmla="*/ 4284957 w 4389398"/>
              <a:gd name="connsiteY15" fmla="*/ 1272139 h 1575840"/>
              <a:gd name="connsiteX16" fmla="*/ 4251340 w 4389398"/>
              <a:gd name="connsiteY16" fmla="*/ 1290090 h 1575840"/>
              <a:gd name="connsiteX17" fmla="*/ 4220308 w 4389398"/>
              <a:gd name="connsiteY17" fmla="*/ 1233672 h 1575840"/>
              <a:gd name="connsiteX18" fmla="*/ 258272 w 4389398"/>
              <a:gd name="connsiteY18" fmla="*/ 1049583 h 1575840"/>
              <a:gd name="connsiteX19" fmla="*/ 290022 w 4389398"/>
              <a:gd name="connsiteY19" fmla="*/ 1070099 h 1575840"/>
              <a:gd name="connsiteX20" fmla="*/ 257051 w 4389398"/>
              <a:gd name="connsiteY20" fmla="*/ 1125234 h 1575840"/>
              <a:gd name="connsiteX21" fmla="*/ 225301 w 4389398"/>
              <a:gd name="connsiteY21" fmla="*/ 1103436 h 1575840"/>
              <a:gd name="connsiteX22" fmla="*/ 258272 w 4389398"/>
              <a:gd name="connsiteY22" fmla="*/ 1049583 h 1575840"/>
              <a:gd name="connsiteX23" fmla="*/ 4118952 w 4389398"/>
              <a:gd name="connsiteY23" fmla="*/ 994631 h 1575840"/>
              <a:gd name="connsiteX24" fmla="*/ 4153144 w 4389398"/>
              <a:gd name="connsiteY24" fmla="*/ 1049767 h 1575840"/>
              <a:gd name="connsiteX25" fmla="*/ 4123836 w 4389398"/>
              <a:gd name="connsiteY25" fmla="*/ 1070282 h 1575840"/>
              <a:gd name="connsiteX26" fmla="*/ 4088423 w 4389398"/>
              <a:gd name="connsiteY26" fmla="*/ 1017711 h 1575840"/>
              <a:gd name="connsiteX27" fmla="*/ 409535 w 4389398"/>
              <a:gd name="connsiteY27" fmla="*/ 840766 h 1575840"/>
              <a:gd name="connsiteX28" fmla="*/ 438362 w 4389398"/>
              <a:gd name="connsiteY28" fmla="*/ 866411 h 1575840"/>
              <a:gd name="connsiteX29" fmla="*/ 398256 w 4389398"/>
              <a:gd name="connsiteY29" fmla="*/ 916417 h 1575840"/>
              <a:gd name="connsiteX30" fmla="*/ 368176 w 4389398"/>
              <a:gd name="connsiteY30" fmla="*/ 892055 h 1575840"/>
              <a:gd name="connsiteX31" fmla="*/ 409535 w 4389398"/>
              <a:gd name="connsiteY31" fmla="*/ 840766 h 1575840"/>
              <a:gd name="connsiteX32" fmla="*/ 3957887 w 4389398"/>
              <a:gd name="connsiteY32" fmla="*/ 796804 h 1575840"/>
              <a:gd name="connsiteX33" fmla="*/ 3999247 w 4389398"/>
              <a:gd name="connsiteY33" fmla="*/ 842814 h 1575840"/>
              <a:gd name="connsiteX34" fmla="*/ 3970420 w 4389398"/>
              <a:gd name="connsiteY34" fmla="*/ 867029 h 1575840"/>
              <a:gd name="connsiteX35" fmla="*/ 3929061 w 4389398"/>
              <a:gd name="connsiteY35" fmla="*/ 821020 h 1575840"/>
              <a:gd name="connsiteX36" fmla="*/ 582868 w 4389398"/>
              <a:gd name="connsiteY36" fmla="*/ 653929 h 1575840"/>
              <a:gd name="connsiteX37" fmla="*/ 608732 w 4389398"/>
              <a:gd name="connsiteY37" fmla="*/ 681026 h 1575840"/>
              <a:gd name="connsiteX38" fmla="*/ 564393 w 4389398"/>
              <a:gd name="connsiteY38" fmla="*/ 724134 h 1575840"/>
              <a:gd name="connsiteX39" fmla="*/ 538528 w 4389398"/>
              <a:gd name="connsiteY39" fmla="*/ 698269 h 1575840"/>
              <a:gd name="connsiteX40" fmla="*/ 582868 w 4389398"/>
              <a:gd name="connsiteY40" fmla="*/ 653929 h 1575840"/>
              <a:gd name="connsiteX41" fmla="*/ 3778642 w 4389398"/>
              <a:gd name="connsiteY41" fmla="*/ 609968 h 1575840"/>
              <a:gd name="connsiteX42" fmla="*/ 3823443 w 4389398"/>
              <a:gd name="connsiteY42" fmla="*/ 653076 h 1575840"/>
              <a:gd name="connsiteX43" fmla="*/ 3798016 w 4389398"/>
              <a:gd name="connsiteY43" fmla="*/ 680173 h 1575840"/>
              <a:gd name="connsiteX44" fmla="*/ 3753215 w 4389398"/>
              <a:gd name="connsiteY44" fmla="*/ 638296 h 1575840"/>
              <a:gd name="connsiteX45" fmla="*/ 776654 w 4389398"/>
              <a:gd name="connsiteY45" fmla="*/ 489074 h 1575840"/>
              <a:gd name="connsiteX46" fmla="*/ 801016 w 4389398"/>
              <a:gd name="connsiteY46" fmla="*/ 520406 h 1575840"/>
              <a:gd name="connsiteX47" fmla="*/ 749727 w 4389398"/>
              <a:gd name="connsiteY47" fmla="*/ 559257 h 1575840"/>
              <a:gd name="connsiteX48" fmla="*/ 725365 w 4389398"/>
              <a:gd name="connsiteY48" fmla="*/ 530432 h 1575840"/>
              <a:gd name="connsiteX49" fmla="*/ 776654 w 4389398"/>
              <a:gd name="connsiteY49" fmla="*/ 489074 h 1575840"/>
              <a:gd name="connsiteX50" fmla="*/ 3583965 w 4389398"/>
              <a:gd name="connsiteY50" fmla="*/ 450606 h 1575840"/>
              <a:gd name="connsiteX51" fmla="*/ 3636536 w 4389398"/>
              <a:gd name="connsiteY51" fmla="*/ 490153 h 1575840"/>
              <a:gd name="connsiteX52" fmla="*/ 3612174 w 4389398"/>
              <a:gd name="connsiteY52" fmla="*/ 520770 h 1575840"/>
              <a:gd name="connsiteX53" fmla="*/ 3560885 w 4389398"/>
              <a:gd name="connsiteY53" fmla="*/ 481223 h 1575840"/>
              <a:gd name="connsiteX54" fmla="*/ 989317 w 4389398"/>
              <a:gd name="connsiteY54" fmla="*/ 340702 h 1575840"/>
              <a:gd name="connsiteX55" fmla="*/ 1009833 w 4389398"/>
              <a:gd name="connsiteY55" fmla="*/ 372452 h 1575840"/>
              <a:gd name="connsiteX56" fmla="*/ 955980 w 4389398"/>
              <a:gd name="connsiteY56" fmla="*/ 405423 h 1575840"/>
              <a:gd name="connsiteX57" fmla="*/ 934182 w 4389398"/>
              <a:gd name="connsiteY57" fmla="*/ 374894 h 1575840"/>
              <a:gd name="connsiteX58" fmla="*/ 989317 w 4389398"/>
              <a:gd name="connsiteY58" fmla="*/ 340702 h 1575840"/>
              <a:gd name="connsiteX59" fmla="*/ 3365803 w 4389398"/>
              <a:gd name="connsiteY59" fmla="*/ 307731 h 1575840"/>
              <a:gd name="connsiteX60" fmla="*/ 3422221 w 4389398"/>
              <a:gd name="connsiteY60" fmla="*/ 339481 h 1575840"/>
              <a:gd name="connsiteX61" fmla="*/ 3401705 w 4389398"/>
              <a:gd name="connsiteY61" fmla="*/ 372452 h 1575840"/>
              <a:gd name="connsiteX62" fmla="*/ 3346570 w 4389398"/>
              <a:gd name="connsiteY62" fmla="*/ 339481 h 1575840"/>
              <a:gd name="connsiteX63" fmla="*/ 1212972 w 4389398"/>
              <a:gd name="connsiteY63" fmla="*/ 219807 h 1575840"/>
              <a:gd name="connsiteX64" fmla="*/ 1229641 w 4389398"/>
              <a:gd name="connsiteY64" fmla="*/ 252450 h 1575840"/>
              <a:gd name="connsiteX65" fmla="*/ 1171941 w 4389398"/>
              <a:gd name="connsiteY65" fmla="*/ 279047 h 1575840"/>
              <a:gd name="connsiteX66" fmla="*/ 1153990 w 4389398"/>
              <a:gd name="connsiteY66" fmla="*/ 246405 h 1575840"/>
              <a:gd name="connsiteX67" fmla="*/ 1212972 w 4389398"/>
              <a:gd name="connsiteY67" fmla="*/ 219807 h 1575840"/>
              <a:gd name="connsiteX68" fmla="*/ 3136656 w 4389398"/>
              <a:gd name="connsiteY68" fmla="*/ 197827 h 1575840"/>
              <a:gd name="connsiteX69" fmla="*/ 3196920 w 4389398"/>
              <a:gd name="connsiteY69" fmla="*/ 222500 h 1575840"/>
              <a:gd name="connsiteX70" fmla="*/ 3180251 w 4389398"/>
              <a:gd name="connsiteY70" fmla="*/ 257043 h 1575840"/>
              <a:gd name="connsiteX71" fmla="*/ 3121269 w 4389398"/>
              <a:gd name="connsiteY71" fmla="*/ 232370 h 1575840"/>
              <a:gd name="connsiteX72" fmla="*/ 1448402 w 4389398"/>
              <a:gd name="connsiteY72" fmla="*/ 126391 h 1575840"/>
              <a:gd name="connsiteX73" fmla="*/ 1460510 w 4389398"/>
              <a:gd name="connsiteY73" fmla="*/ 163687 h 1575840"/>
              <a:gd name="connsiteX74" fmla="*/ 1403601 w 4389398"/>
              <a:gd name="connsiteY74" fmla="*/ 185550 h 1575840"/>
              <a:gd name="connsiteX75" fmla="*/ 1390282 w 4389398"/>
              <a:gd name="connsiteY75" fmla="*/ 148254 h 1575840"/>
              <a:gd name="connsiteX76" fmla="*/ 1448402 w 4389398"/>
              <a:gd name="connsiteY76" fmla="*/ 126391 h 1575840"/>
              <a:gd name="connsiteX77" fmla="*/ 2900324 w 4389398"/>
              <a:gd name="connsiteY77" fmla="*/ 104410 h 1575840"/>
              <a:gd name="connsiteX78" fmla="*/ 2960675 w 4389398"/>
              <a:gd name="connsiteY78" fmla="*/ 123524 h 1575840"/>
              <a:gd name="connsiteX79" fmla="*/ 2948359 w 4389398"/>
              <a:gd name="connsiteY79" fmla="*/ 158168 h 1575840"/>
              <a:gd name="connsiteX80" fmla="*/ 2890471 w 4389398"/>
              <a:gd name="connsiteY80" fmla="*/ 139054 h 1575840"/>
              <a:gd name="connsiteX81" fmla="*/ 1693655 w 4389398"/>
              <a:gd name="connsiteY81" fmla="*/ 54952 h 1575840"/>
              <a:gd name="connsiteX82" fmla="*/ 1702277 w 4389398"/>
              <a:gd name="connsiteY82" fmla="*/ 93291 h 1575840"/>
              <a:gd name="connsiteX83" fmla="*/ 1640692 w 4389398"/>
              <a:gd name="connsiteY83" fmla="*/ 108626 h 1575840"/>
              <a:gd name="connsiteX84" fmla="*/ 1632070 w 4389398"/>
              <a:gd name="connsiteY84" fmla="*/ 70288 h 1575840"/>
              <a:gd name="connsiteX85" fmla="*/ 1693655 w 4389398"/>
              <a:gd name="connsiteY85" fmla="*/ 54952 h 1575840"/>
              <a:gd name="connsiteX86" fmla="*/ 2650576 w 4389398"/>
              <a:gd name="connsiteY86" fmla="*/ 43961 h 1575840"/>
              <a:gd name="connsiteX87" fmla="*/ 2713393 w 4389398"/>
              <a:gd name="connsiteY87" fmla="*/ 56024 h 1575840"/>
              <a:gd name="connsiteX88" fmla="*/ 2704771 w 4389398"/>
              <a:gd name="connsiteY88" fmla="*/ 92213 h 1575840"/>
              <a:gd name="connsiteX89" fmla="*/ 2643186 w 4389398"/>
              <a:gd name="connsiteY89" fmla="*/ 80150 h 1575840"/>
              <a:gd name="connsiteX90" fmla="*/ 1951185 w 4389398"/>
              <a:gd name="connsiteY90" fmla="*/ 16487 h 1575840"/>
              <a:gd name="connsiteX91" fmla="*/ 1955012 w 4389398"/>
              <a:gd name="connsiteY91" fmla="*/ 52132 h 1575840"/>
              <a:gd name="connsiteX92" fmla="*/ 1891227 w 4389398"/>
              <a:gd name="connsiteY92" fmla="*/ 59261 h 1575840"/>
              <a:gd name="connsiteX93" fmla="*/ 1884849 w 4389398"/>
              <a:gd name="connsiteY93" fmla="*/ 23616 h 1575840"/>
              <a:gd name="connsiteX94" fmla="*/ 1951185 w 4389398"/>
              <a:gd name="connsiteY94" fmla="*/ 16487 h 1575840"/>
              <a:gd name="connsiteX95" fmla="*/ 2399567 w 4389398"/>
              <a:gd name="connsiteY95" fmla="*/ 10990 h 1575840"/>
              <a:gd name="connsiteX96" fmla="*/ 2460625 w 4389398"/>
              <a:gd name="connsiteY96" fmla="*/ 17096 h 1575840"/>
              <a:gd name="connsiteX97" fmla="*/ 2458183 w 4389398"/>
              <a:gd name="connsiteY97" fmla="*/ 53731 h 1575840"/>
              <a:gd name="connsiteX98" fmla="*/ 2395904 w 4389398"/>
              <a:gd name="connsiteY98" fmla="*/ 47625 h 1575840"/>
              <a:gd name="connsiteX99" fmla="*/ 2143125 w 4389398"/>
              <a:gd name="connsiteY99" fmla="*/ 0 h 1575840"/>
              <a:gd name="connsiteX100" fmla="*/ 2207823 w 4389398"/>
              <a:gd name="connsiteY100" fmla="*/ 0 h 1575840"/>
              <a:gd name="connsiteX101" fmla="*/ 2207823 w 4389398"/>
              <a:gd name="connsiteY101" fmla="*/ 36064 h 1575840"/>
              <a:gd name="connsiteX102" fmla="*/ 2145613 w 4389398"/>
              <a:gd name="connsiteY102" fmla="*/ 37266 h 1575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</a:cxnLst>
            <a:rect l="l" t="t" r="r" b="b"/>
            <a:pathLst>
              <a:path w="4389398" h="1575840">
                <a:moveTo>
                  <a:pt x="22667" y="1500189"/>
                </a:moveTo>
                <a:lnTo>
                  <a:pt x="59186" y="1514294"/>
                </a:lnTo>
                <a:cubicBezTo>
                  <a:pt x="50371" y="1534809"/>
                  <a:pt x="44074" y="1555325"/>
                  <a:pt x="36519" y="1575840"/>
                </a:cubicBezTo>
                <a:lnTo>
                  <a:pt x="0" y="1561736"/>
                </a:lnTo>
                <a:cubicBezTo>
                  <a:pt x="7556" y="1541220"/>
                  <a:pt x="15111" y="1520705"/>
                  <a:pt x="22667" y="1500189"/>
                </a:cubicBezTo>
                <a:close/>
                <a:moveTo>
                  <a:pt x="4365472" y="1445237"/>
                </a:moveTo>
                <a:cubicBezTo>
                  <a:pt x="4374286" y="1465753"/>
                  <a:pt x="4381842" y="1486268"/>
                  <a:pt x="4389398" y="1506784"/>
                </a:cubicBezTo>
                <a:lnTo>
                  <a:pt x="4354138" y="1520888"/>
                </a:lnTo>
                <a:cubicBezTo>
                  <a:pt x="4345323" y="1500373"/>
                  <a:pt x="4337768" y="1479857"/>
                  <a:pt x="4330212" y="1460624"/>
                </a:cubicBezTo>
                <a:close/>
                <a:moveTo>
                  <a:pt x="127359" y="1269391"/>
                </a:moveTo>
                <a:lnTo>
                  <a:pt x="163562" y="1287048"/>
                </a:lnTo>
                <a:cubicBezTo>
                  <a:pt x="153218" y="1307227"/>
                  <a:pt x="144167" y="1326145"/>
                  <a:pt x="133823" y="1345063"/>
                </a:cubicBezTo>
                <a:lnTo>
                  <a:pt x="98913" y="1328667"/>
                </a:lnTo>
                <a:cubicBezTo>
                  <a:pt x="107964" y="1308488"/>
                  <a:pt x="118308" y="1288309"/>
                  <a:pt x="127359" y="1269391"/>
                </a:cubicBezTo>
                <a:close/>
                <a:moveTo>
                  <a:pt x="4255218" y="1214439"/>
                </a:moveTo>
                <a:cubicBezTo>
                  <a:pt x="4264269" y="1233672"/>
                  <a:pt x="4275906" y="1254188"/>
                  <a:pt x="4284957" y="1272139"/>
                </a:cubicBezTo>
                <a:lnTo>
                  <a:pt x="4251340" y="1290090"/>
                </a:lnTo>
                <a:cubicBezTo>
                  <a:pt x="4239703" y="1272139"/>
                  <a:pt x="4230652" y="1251624"/>
                  <a:pt x="4220308" y="1233672"/>
                </a:cubicBezTo>
                <a:close/>
                <a:moveTo>
                  <a:pt x="258272" y="1049583"/>
                </a:moveTo>
                <a:lnTo>
                  <a:pt x="290022" y="1070099"/>
                </a:lnTo>
                <a:cubicBezTo>
                  <a:pt x="277810" y="1088050"/>
                  <a:pt x="266820" y="1107283"/>
                  <a:pt x="257051" y="1125234"/>
                </a:cubicBezTo>
                <a:lnTo>
                  <a:pt x="225301" y="1103436"/>
                </a:lnTo>
                <a:cubicBezTo>
                  <a:pt x="235070" y="1085485"/>
                  <a:pt x="247282" y="1067534"/>
                  <a:pt x="258272" y="1049583"/>
                </a:cubicBezTo>
                <a:close/>
                <a:moveTo>
                  <a:pt x="4118952" y="994631"/>
                </a:moveTo>
                <a:cubicBezTo>
                  <a:pt x="4131163" y="1012582"/>
                  <a:pt x="4142154" y="1030533"/>
                  <a:pt x="4153144" y="1049767"/>
                </a:cubicBezTo>
                <a:lnTo>
                  <a:pt x="4123836" y="1070282"/>
                </a:lnTo>
                <a:cubicBezTo>
                  <a:pt x="4111625" y="1053613"/>
                  <a:pt x="4099413" y="1034380"/>
                  <a:pt x="4088423" y="1017711"/>
                </a:cubicBezTo>
                <a:close/>
                <a:moveTo>
                  <a:pt x="409535" y="840766"/>
                </a:moveTo>
                <a:lnTo>
                  <a:pt x="438362" y="866411"/>
                </a:lnTo>
                <a:cubicBezTo>
                  <a:pt x="424575" y="883079"/>
                  <a:pt x="410789" y="899748"/>
                  <a:pt x="398256" y="916417"/>
                </a:cubicBezTo>
                <a:lnTo>
                  <a:pt x="368176" y="892055"/>
                </a:lnTo>
                <a:cubicBezTo>
                  <a:pt x="380709" y="875386"/>
                  <a:pt x="394496" y="857435"/>
                  <a:pt x="409535" y="840766"/>
                </a:cubicBezTo>
                <a:close/>
                <a:moveTo>
                  <a:pt x="3957887" y="796804"/>
                </a:moveTo>
                <a:cubicBezTo>
                  <a:pt x="3971674" y="812544"/>
                  <a:pt x="3985460" y="828285"/>
                  <a:pt x="3999247" y="842814"/>
                </a:cubicBezTo>
                <a:lnTo>
                  <a:pt x="3970420" y="867029"/>
                </a:lnTo>
                <a:cubicBezTo>
                  <a:pt x="3956634" y="851289"/>
                  <a:pt x="3942847" y="835549"/>
                  <a:pt x="3929061" y="821020"/>
                </a:cubicBezTo>
                <a:close/>
                <a:moveTo>
                  <a:pt x="582868" y="653929"/>
                </a:moveTo>
                <a:lnTo>
                  <a:pt x="608732" y="681026"/>
                </a:lnTo>
                <a:cubicBezTo>
                  <a:pt x="593952" y="695806"/>
                  <a:pt x="579173" y="710585"/>
                  <a:pt x="564393" y="724134"/>
                </a:cubicBezTo>
                <a:lnTo>
                  <a:pt x="538528" y="698269"/>
                </a:lnTo>
                <a:cubicBezTo>
                  <a:pt x="552076" y="683489"/>
                  <a:pt x="568088" y="668709"/>
                  <a:pt x="582868" y="653929"/>
                </a:cubicBezTo>
                <a:close/>
                <a:moveTo>
                  <a:pt x="3778642" y="609968"/>
                </a:moveTo>
                <a:cubicBezTo>
                  <a:pt x="3794383" y="624748"/>
                  <a:pt x="3808913" y="638296"/>
                  <a:pt x="3823443" y="653076"/>
                </a:cubicBezTo>
                <a:lnTo>
                  <a:pt x="3798016" y="680173"/>
                </a:lnTo>
                <a:cubicBezTo>
                  <a:pt x="3783486" y="665393"/>
                  <a:pt x="3768956" y="651845"/>
                  <a:pt x="3753215" y="638296"/>
                </a:cubicBezTo>
                <a:close/>
                <a:moveTo>
                  <a:pt x="776654" y="489074"/>
                </a:moveTo>
                <a:lnTo>
                  <a:pt x="801016" y="520406"/>
                </a:lnTo>
                <a:cubicBezTo>
                  <a:pt x="784347" y="532938"/>
                  <a:pt x="766396" y="546724"/>
                  <a:pt x="749727" y="559257"/>
                </a:cubicBezTo>
                <a:lnTo>
                  <a:pt x="725365" y="530432"/>
                </a:lnTo>
                <a:cubicBezTo>
                  <a:pt x="742034" y="516646"/>
                  <a:pt x="759985" y="502860"/>
                  <a:pt x="776654" y="489074"/>
                </a:cubicBezTo>
                <a:close/>
                <a:moveTo>
                  <a:pt x="3583965" y="450606"/>
                </a:moveTo>
                <a:cubicBezTo>
                  <a:pt x="3601916" y="463363"/>
                  <a:pt x="3618585" y="476120"/>
                  <a:pt x="3636536" y="490153"/>
                </a:cubicBezTo>
                <a:lnTo>
                  <a:pt x="3612174" y="520770"/>
                </a:lnTo>
                <a:cubicBezTo>
                  <a:pt x="3595505" y="506737"/>
                  <a:pt x="3577554" y="495256"/>
                  <a:pt x="3560885" y="481223"/>
                </a:cubicBezTo>
                <a:close/>
                <a:moveTo>
                  <a:pt x="989317" y="340702"/>
                </a:moveTo>
                <a:lnTo>
                  <a:pt x="1009833" y="372452"/>
                </a:lnTo>
                <a:cubicBezTo>
                  <a:pt x="991882" y="383442"/>
                  <a:pt x="973931" y="394433"/>
                  <a:pt x="955980" y="405423"/>
                </a:cubicBezTo>
                <a:lnTo>
                  <a:pt x="934182" y="374894"/>
                </a:lnTo>
                <a:cubicBezTo>
                  <a:pt x="952133" y="362683"/>
                  <a:pt x="971366" y="351693"/>
                  <a:pt x="989317" y="340702"/>
                </a:cubicBezTo>
                <a:close/>
                <a:moveTo>
                  <a:pt x="3365803" y="307731"/>
                </a:moveTo>
                <a:cubicBezTo>
                  <a:pt x="3383754" y="317500"/>
                  <a:pt x="3402988" y="328491"/>
                  <a:pt x="3422221" y="339481"/>
                </a:cubicBezTo>
                <a:lnTo>
                  <a:pt x="3401705" y="372452"/>
                </a:lnTo>
                <a:cubicBezTo>
                  <a:pt x="3382472" y="360241"/>
                  <a:pt x="3364521" y="350471"/>
                  <a:pt x="3346570" y="339481"/>
                </a:cubicBezTo>
                <a:close/>
                <a:moveTo>
                  <a:pt x="1212972" y="219807"/>
                </a:moveTo>
                <a:lnTo>
                  <a:pt x="1229641" y="252450"/>
                </a:lnTo>
                <a:cubicBezTo>
                  <a:pt x="1210408" y="260913"/>
                  <a:pt x="1191174" y="270584"/>
                  <a:pt x="1171941" y="279047"/>
                </a:cubicBezTo>
                <a:lnTo>
                  <a:pt x="1153990" y="246405"/>
                </a:lnTo>
                <a:cubicBezTo>
                  <a:pt x="1174505" y="237942"/>
                  <a:pt x="1193739" y="228270"/>
                  <a:pt x="1212972" y="219807"/>
                </a:cubicBezTo>
                <a:close/>
                <a:moveTo>
                  <a:pt x="3136656" y="197827"/>
                </a:moveTo>
                <a:cubicBezTo>
                  <a:pt x="3157171" y="205229"/>
                  <a:pt x="3177687" y="215098"/>
                  <a:pt x="3196920" y="222500"/>
                </a:cubicBezTo>
                <a:lnTo>
                  <a:pt x="3180251" y="257043"/>
                </a:lnTo>
                <a:cubicBezTo>
                  <a:pt x="3161018" y="248407"/>
                  <a:pt x="3140502" y="239771"/>
                  <a:pt x="3121269" y="232370"/>
                </a:cubicBezTo>
                <a:close/>
                <a:moveTo>
                  <a:pt x="1448402" y="126391"/>
                </a:moveTo>
                <a:lnTo>
                  <a:pt x="1460510" y="163687"/>
                </a:lnTo>
                <a:cubicBezTo>
                  <a:pt x="1441137" y="170117"/>
                  <a:pt x="1421764" y="177834"/>
                  <a:pt x="1403601" y="185550"/>
                </a:cubicBezTo>
                <a:lnTo>
                  <a:pt x="1390282" y="148254"/>
                </a:lnTo>
                <a:cubicBezTo>
                  <a:pt x="1409655" y="140538"/>
                  <a:pt x="1429029" y="132822"/>
                  <a:pt x="1448402" y="126391"/>
                </a:cubicBezTo>
                <a:close/>
                <a:moveTo>
                  <a:pt x="2900324" y="104410"/>
                </a:moveTo>
                <a:cubicBezTo>
                  <a:pt x="2921262" y="110383"/>
                  <a:pt x="2940969" y="116356"/>
                  <a:pt x="2960675" y="123524"/>
                </a:cubicBezTo>
                <a:lnTo>
                  <a:pt x="2948359" y="158168"/>
                </a:lnTo>
                <a:cubicBezTo>
                  <a:pt x="2929884" y="151000"/>
                  <a:pt x="2910177" y="145027"/>
                  <a:pt x="2890471" y="139054"/>
                </a:cubicBezTo>
                <a:close/>
                <a:moveTo>
                  <a:pt x="1693655" y="54952"/>
                </a:moveTo>
                <a:lnTo>
                  <a:pt x="1702277" y="93291"/>
                </a:lnTo>
                <a:cubicBezTo>
                  <a:pt x="1681338" y="98403"/>
                  <a:pt x="1660399" y="103514"/>
                  <a:pt x="1640692" y="108626"/>
                </a:cubicBezTo>
                <a:lnTo>
                  <a:pt x="1632070" y="70288"/>
                </a:lnTo>
                <a:cubicBezTo>
                  <a:pt x="1653009" y="65176"/>
                  <a:pt x="1672716" y="60064"/>
                  <a:pt x="1693655" y="54952"/>
                </a:cubicBezTo>
                <a:close/>
                <a:moveTo>
                  <a:pt x="2650576" y="43961"/>
                </a:moveTo>
                <a:cubicBezTo>
                  <a:pt x="2671515" y="47580"/>
                  <a:pt x="2692454" y="52405"/>
                  <a:pt x="2713393" y="56024"/>
                </a:cubicBezTo>
                <a:lnTo>
                  <a:pt x="2704771" y="92213"/>
                </a:lnTo>
                <a:cubicBezTo>
                  <a:pt x="2683832" y="88594"/>
                  <a:pt x="2664125" y="83769"/>
                  <a:pt x="2643186" y="80150"/>
                </a:cubicBezTo>
                <a:close/>
                <a:moveTo>
                  <a:pt x="1951185" y="16487"/>
                </a:moveTo>
                <a:lnTo>
                  <a:pt x="1955012" y="52132"/>
                </a:lnTo>
                <a:cubicBezTo>
                  <a:pt x="1933325" y="54508"/>
                  <a:pt x="1911639" y="56885"/>
                  <a:pt x="1891227" y="59261"/>
                </a:cubicBezTo>
                <a:lnTo>
                  <a:pt x="1884849" y="23616"/>
                </a:lnTo>
                <a:cubicBezTo>
                  <a:pt x="1907812" y="21240"/>
                  <a:pt x="1929498" y="18863"/>
                  <a:pt x="1951185" y="16487"/>
                </a:cubicBezTo>
                <a:close/>
                <a:moveTo>
                  <a:pt x="2399567" y="10990"/>
                </a:moveTo>
                <a:cubicBezTo>
                  <a:pt x="2420327" y="13432"/>
                  <a:pt x="2441086" y="14654"/>
                  <a:pt x="2460625" y="17096"/>
                </a:cubicBezTo>
                <a:lnTo>
                  <a:pt x="2458183" y="53731"/>
                </a:lnTo>
                <a:cubicBezTo>
                  <a:pt x="2437423" y="51289"/>
                  <a:pt x="2416664" y="48846"/>
                  <a:pt x="2395904" y="47625"/>
                </a:cubicBezTo>
                <a:close/>
                <a:moveTo>
                  <a:pt x="2143125" y="0"/>
                </a:moveTo>
                <a:cubicBezTo>
                  <a:pt x="2165520" y="0"/>
                  <a:pt x="2186672" y="0"/>
                  <a:pt x="2207823" y="0"/>
                </a:cubicBezTo>
                <a:lnTo>
                  <a:pt x="2207823" y="36064"/>
                </a:lnTo>
                <a:cubicBezTo>
                  <a:pt x="2186672" y="36064"/>
                  <a:pt x="2165520" y="37266"/>
                  <a:pt x="2145613" y="3726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de-DE" sz="900" dirty="0"/>
          </a:p>
        </p:txBody>
      </p:sp>
      <p:sp>
        <p:nvSpPr>
          <p:cNvPr id="16" name="Freeform 150">
            <a:extLst>
              <a:ext uri="{FF2B5EF4-FFF2-40B4-BE49-F238E27FC236}">
                <a16:creationId xmlns:a16="http://schemas.microsoft.com/office/drawing/2014/main" id="{88E461D6-3462-C740-A57C-49CA22A665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13141" y="2161992"/>
            <a:ext cx="902601" cy="902601"/>
          </a:xfrm>
          <a:custGeom>
            <a:avLst/>
            <a:gdLst>
              <a:gd name="T0" fmla="*/ 631 w 1262"/>
              <a:gd name="T1" fmla="*/ 0 h 1262"/>
              <a:gd name="T2" fmla="*/ 631 w 1262"/>
              <a:gd name="T3" fmla="*/ 0 h 1262"/>
              <a:gd name="T4" fmla="*/ 0 w 1262"/>
              <a:gd name="T5" fmla="*/ 630 h 1262"/>
              <a:gd name="T6" fmla="*/ 0 w 1262"/>
              <a:gd name="T7" fmla="*/ 630 h 1262"/>
              <a:gd name="T8" fmla="*/ 631 w 1262"/>
              <a:gd name="T9" fmla="*/ 1261 h 1262"/>
              <a:gd name="T10" fmla="*/ 631 w 1262"/>
              <a:gd name="T11" fmla="*/ 1261 h 1262"/>
              <a:gd name="T12" fmla="*/ 1261 w 1262"/>
              <a:gd name="T13" fmla="*/ 630 h 1262"/>
              <a:gd name="T14" fmla="*/ 1261 w 1262"/>
              <a:gd name="T15" fmla="*/ 630 h 1262"/>
              <a:gd name="T16" fmla="*/ 631 w 1262"/>
              <a:gd name="T17" fmla="*/ 0 h 12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62" h="1262">
                <a:moveTo>
                  <a:pt x="631" y="0"/>
                </a:moveTo>
                <a:lnTo>
                  <a:pt x="631" y="0"/>
                </a:lnTo>
                <a:cubicBezTo>
                  <a:pt x="282" y="0"/>
                  <a:pt x="0" y="283"/>
                  <a:pt x="0" y="630"/>
                </a:cubicBezTo>
                <a:lnTo>
                  <a:pt x="0" y="630"/>
                </a:lnTo>
                <a:cubicBezTo>
                  <a:pt x="0" y="979"/>
                  <a:pt x="282" y="1261"/>
                  <a:pt x="631" y="1261"/>
                </a:cubicBezTo>
                <a:lnTo>
                  <a:pt x="631" y="1261"/>
                </a:lnTo>
                <a:cubicBezTo>
                  <a:pt x="978" y="1261"/>
                  <a:pt x="1261" y="979"/>
                  <a:pt x="1261" y="630"/>
                </a:cubicBezTo>
                <a:lnTo>
                  <a:pt x="1261" y="630"/>
                </a:lnTo>
                <a:cubicBezTo>
                  <a:pt x="1261" y="283"/>
                  <a:pt x="978" y="0"/>
                  <a:pt x="631" y="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900" dirty="0"/>
          </a:p>
        </p:txBody>
      </p:sp>
      <p:sp>
        <p:nvSpPr>
          <p:cNvPr id="17" name="Freeform 153">
            <a:extLst>
              <a:ext uri="{FF2B5EF4-FFF2-40B4-BE49-F238E27FC236}">
                <a16:creationId xmlns:a16="http://schemas.microsoft.com/office/drawing/2014/main" id="{5D092F4C-F4DE-8644-A7BB-78BEA30259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94917" y="5016034"/>
            <a:ext cx="902601" cy="902601"/>
          </a:xfrm>
          <a:custGeom>
            <a:avLst/>
            <a:gdLst>
              <a:gd name="T0" fmla="*/ 630 w 1262"/>
              <a:gd name="T1" fmla="*/ 0 h 1262"/>
              <a:gd name="T2" fmla="*/ 630 w 1262"/>
              <a:gd name="T3" fmla="*/ 0 h 1262"/>
              <a:gd name="T4" fmla="*/ 0 w 1262"/>
              <a:gd name="T5" fmla="*/ 630 h 1262"/>
              <a:gd name="T6" fmla="*/ 0 w 1262"/>
              <a:gd name="T7" fmla="*/ 630 h 1262"/>
              <a:gd name="T8" fmla="*/ 630 w 1262"/>
              <a:gd name="T9" fmla="*/ 1261 h 1262"/>
              <a:gd name="T10" fmla="*/ 630 w 1262"/>
              <a:gd name="T11" fmla="*/ 1261 h 1262"/>
              <a:gd name="T12" fmla="*/ 1261 w 1262"/>
              <a:gd name="T13" fmla="*/ 630 h 1262"/>
              <a:gd name="T14" fmla="*/ 1261 w 1262"/>
              <a:gd name="T15" fmla="*/ 630 h 1262"/>
              <a:gd name="T16" fmla="*/ 630 w 1262"/>
              <a:gd name="T17" fmla="*/ 0 h 12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62" h="1262">
                <a:moveTo>
                  <a:pt x="630" y="0"/>
                </a:moveTo>
                <a:lnTo>
                  <a:pt x="630" y="0"/>
                </a:lnTo>
                <a:cubicBezTo>
                  <a:pt x="283" y="0"/>
                  <a:pt x="0" y="283"/>
                  <a:pt x="0" y="630"/>
                </a:cubicBezTo>
                <a:lnTo>
                  <a:pt x="0" y="630"/>
                </a:lnTo>
                <a:cubicBezTo>
                  <a:pt x="0" y="979"/>
                  <a:pt x="283" y="1261"/>
                  <a:pt x="630" y="1261"/>
                </a:cubicBezTo>
                <a:lnTo>
                  <a:pt x="630" y="1261"/>
                </a:lnTo>
                <a:cubicBezTo>
                  <a:pt x="979" y="1261"/>
                  <a:pt x="1261" y="979"/>
                  <a:pt x="1261" y="630"/>
                </a:cubicBezTo>
                <a:lnTo>
                  <a:pt x="1261" y="630"/>
                </a:lnTo>
                <a:cubicBezTo>
                  <a:pt x="1261" y="283"/>
                  <a:pt x="979" y="0"/>
                  <a:pt x="630" y="0"/>
                </a:cubicBez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900" dirty="0"/>
          </a:p>
        </p:txBody>
      </p:sp>
      <p:sp>
        <p:nvSpPr>
          <p:cNvPr id="18" name="Freeform 156">
            <a:extLst>
              <a:ext uri="{FF2B5EF4-FFF2-40B4-BE49-F238E27FC236}">
                <a16:creationId xmlns:a16="http://schemas.microsoft.com/office/drawing/2014/main" id="{3B495889-09E8-4945-9DBF-84B49F9749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0911" y="2161992"/>
            <a:ext cx="902601" cy="902601"/>
          </a:xfrm>
          <a:custGeom>
            <a:avLst/>
            <a:gdLst>
              <a:gd name="T0" fmla="*/ 630 w 1262"/>
              <a:gd name="T1" fmla="*/ 0 h 1262"/>
              <a:gd name="T2" fmla="*/ 630 w 1262"/>
              <a:gd name="T3" fmla="*/ 0 h 1262"/>
              <a:gd name="T4" fmla="*/ 0 w 1262"/>
              <a:gd name="T5" fmla="*/ 630 h 1262"/>
              <a:gd name="T6" fmla="*/ 0 w 1262"/>
              <a:gd name="T7" fmla="*/ 630 h 1262"/>
              <a:gd name="T8" fmla="*/ 630 w 1262"/>
              <a:gd name="T9" fmla="*/ 1261 h 1262"/>
              <a:gd name="T10" fmla="*/ 630 w 1262"/>
              <a:gd name="T11" fmla="*/ 1261 h 1262"/>
              <a:gd name="T12" fmla="*/ 1261 w 1262"/>
              <a:gd name="T13" fmla="*/ 630 h 1262"/>
              <a:gd name="T14" fmla="*/ 1261 w 1262"/>
              <a:gd name="T15" fmla="*/ 630 h 1262"/>
              <a:gd name="T16" fmla="*/ 630 w 1262"/>
              <a:gd name="T17" fmla="*/ 0 h 12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62" h="1262">
                <a:moveTo>
                  <a:pt x="630" y="0"/>
                </a:moveTo>
                <a:lnTo>
                  <a:pt x="630" y="0"/>
                </a:lnTo>
                <a:cubicBezTo>
                  <a:pt x="282" y="0"/>
                  <a:pt x="0" y="283"/>
                  <a:pt x="0" y="630"/>
                </a:cubicBezTo>
                <a:lnTo>
                  <a:pt x="0" y="630"/>
                </a:lnTo>
                <a:cubicBezTo>
                  <a:pt x="0" y="979"/>
                  <a:pt x="282" y="1261"/>
                  <a:pt x="630" y="1261"/>
                </a:cubicBezTo>
                <a:lnTo>
                  <a:pt x="630" y="1261"/>
                </a:lnTo>
                <a:cubicBezTo>
                  <a:pt x="978" y="1261"/>
                  <a:pt x="1261" y="979"/>
                  <a:pt x="1261" y="630"/>
                </a:cubicBezTo>
                <a:lnTo>
                  <a:pt x="1261" y="630"/>
                </a:lnTo>
                <a:cubicBezTo>
                  <a:pt x="1261" y="283"/>
                  <a:pt x="978" y="0"/>
                  <a:pt x="630" y="0"/>
                </a:cubicBez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9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AF1F472-A764-8748-9313-0B8CD5AD2DA2}"/>
              </a:ext>
            </a:extLst>
          </p:cNvPr>
          <p:cNvSpPr txBox="1"/>
          <p:nvPr/>
        </p:nvSpPr>
        <p:spPr>
          <a:xfrm>
            <a:off x="3000800" y="2336292"/>
            <a:ext cx="324128" cy="553998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3000" b="1">
                <a:solidFill>
                  <a:schemeClr val="bg1"/>
                </a:solidFill>
                <a:latin typeface="Montserrat Medium" panose="00000600000000000000" pitchFamily="2" charset="0"/>
                <a:cs typeface="Poppins" pitchFamily="2" charset="77"/>
              </a:rPr>
              <a:t>1</a:t>
            </a:r>
            <a:endParaRPr lang="de-DE" sz="3000" b="1" dirty="0">
              <a:solidFill>
                <a:schemeClr val="bg1"/>
              </a:solidFill>
              <a:latin typeface="Montserrat Medium" panose="00000600000000000000" pitchFamily="2" charset="0"/>
              <a:cs typeface="Poppins" pitchFamily="2" charset="77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31EFA60-98A2-1542-908E-78DB204AF207}"/>
              </a:ext>
            </a:extLst>
          </p:cNvPr>
          <p:cNvSpPr txBox="1"/>
          <p:nvPr/>
        </p:nvSpPr>
        <p:spPr>
          <a:xfrm>
            <a:off x="5744103" y="5209270"/>
            <a:ext cx="401072" cy="553998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3000" b="1">
                <a:solidFill>
                  <a:schemeClr val="bg1"/>
                </a:solidFill>
                <a:latin typeface="Montserrat Medium" panose="00000600000000000000" pitchFamily="2" charset="0"/>
                <a:cs typeface="Poppins" pitchFamily="2" charset="77"/>
              </a:rPr>
              <a:t>2</a:t>
            </a:r>
            <a:endParaRPr lang="de-DE" sz="3000" b="1" dirty="0">
              <a:solidFill>
                <a:schemeClr val="bg1"/>
              </a:solidFill>
              <a:latin typeface="Montserrat Medium" panose="00000600000000000000" pitchFamily="2" charset="0"/>
              <a:cs typeface="Poppins" pitchFamily="2" charset="77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7BA385A-F7C3-374C-B47E-5AC518ADC9CF}"/>
              </a:ext>
            </a:extLst>
          </p:cNvPr>
          <p:cNvSpPr txBox="1"/>
          <p:nvPr/>
        </p:nvSpPr>
        <p:spPr>
          <a:xfrm>
            <a:off x="8283253" y="2336292"/>
            <a:ext cx="401072" cy="553998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de-DE" sz="3000" b="1">
                <a:solidFill>
                  <a:schemeClr val="bg1"/>
                </a:solidFill>
                <a:latin typeface="Montserrat Medium" panose="00000600000000000000" pitchFamily="2" charset="0"/>
                <a:cs typeface="Poppins" pitchFamily="2" charset="77"/>
              </a:rPr>
              <a:t>3</a:t>
            </a:r>
            <a:endParaRPr lang="de-DE" sz="3000" b="1" dirty="0">
              <a:solidFill>
                <a:schemeClr val="bg1"/>
              </a:solidFill>
              <a:latin typeface="Montserrat Medium" panose="00000600000000000000" pitchFamily="2" charset="0"/>
              <a:cs typeface="Poppins" pitchFamily="2" charset="77"/>
            </a:endParaRP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42DC4A65-206D-3D49-BDEE-3485746460E6}"/>
              </a:ext>
            </a:extLst>
          </p:cNvPr>
          <p:cNvSpPr txBox="1">
            <a:spLocks/>
          </p:cNvSpPr>
          <p:nvPr/>
        </p:nvSpPr>
        <p:spPr>
          <a:xfrm>
            <a:off x="2090556" y="3739382"/>
            <a:ext cx="2150854" cy="718979"/>
          </a:xfrm>
          <a:prstGeom prst="rect">
            <a:avLst/>
          </a:prstGeom>
        </p:spPr>
        <p:txBody>
          <a:bodyPr vert="horz" wrap="square" lIns="4572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750"/>
              </a:lnSpc>
            </a:pPr>
            <a:r>
              <a:rPr lang="en-US" sz="1200" dirty="0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Simplifies the room booking experience, reducing time and effort</a:t>
            </a:r>
            <a:endParaRPr lang="de-DE" sz="1200" dirty="0">
              <a:solidFill>
                <a:schemeClr val="tx1"/>
              </a:solidFill>
              <a:latin typeface="Montserrat Medium" panose="00000600000000000000" pitchFamily="2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5D7CFAD-1371-DB47-AE0F-FC85117FB81C}"/>
              </a:ext>
            </a:extLst>
          </p:cNvPr>
          <p:cNvSpPr txBox="1"/>
          <p:nvPr/>
        </p:nvSpPr>
        <p:spPr>
          <a:xfrm>
            <a:off x="1870596" y="3433027"/>
            <a:ext cx="2590773" cy="307777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ctr"/>
            <a:r>
              <a:rPr lang="de-DE" sz="1400" b="1" dirty="0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Efficiency and </a:t>
            </a:r>
            <a:r>
              <a:rPr lang="de-DE" sz="1400" b="1" dirty="0" err="1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Productivity</a:t>
            </a:r>
            <a:endParaRPr lang="de-DE" sz="1400" b="1" dirty="0">
              <a:solidFill>
                <a:schemeClr val="tx2"/>
              </a:solidFill>
              <a:latin typeface="Montserrat Medium" panose="00000600000000000000" pitchFamily="2" charset="0"/>
              <a:ea typeface="League Spartan" charset="0"/>
              <a:cs typeface="Poppins" pitchFamily="2" charset="77"/>
            </a:endParaRPr>
          </a:p>
        </p:txBody>
      </p:sp>
      <p:sp>
        <p:nvSpPr>
          <p:cNvPr id="33" name="Subtitle 2">
            <a:extLst>
              <a:ext uri="{FF2B5EF4-FFF2-40B4-BE49-F238E27FC236}">
                <a16:creationId xmlns:a16="http://schemas.microsoft.com/office/drawing/2014/main" id="{75D78690-1AEF-7A4C-8AEB-CE2146090DA3}"/>
              </a:ext>
            </a:extLst>
          </p:cNvPr>
          <p:cNvSpPr txBox="1">
            <a:spLocks/>
          </p:cNvSpPr>
          <p:nvPr/>
        </p:nvSpPr>
        <p:spPr>
          <a:xfrm>
            <a:off x="4750945" y="3739382"/>
            <a:ext cx="2150854" cy="488147"/>
          </a:xfrm>
          <a:prstGeom prst="rect">
            <a:avLst/>
          </a:prstGeom>
        </p:spPr>
        <p:txBody>
          <a:bodyPr vert="horz" wrap="square" lIns="4572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750"/>
              </a:lnSpc>
            </a:pPr>
            <a:r>
              <a:rPr lang="en-US" sz="1200" dirty="0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Provides a single platform for managing rooms.</a:t>
            </a:r>
            <a:endParaRPr lang="de-DE" sz="1200" dirty="0">
              <a:solidFill>
                <a:schemeClr val="tx1"/>
              </a:solidFill>
              <a:latin typeface="Montserrat Medium" panose="00000600000000000000" pitchFamily="2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35FF297-A2F2-4644-AC5A-4CB1DC9074DF}"/>
              </a:ext>
            </a:extLst>
          </p:cNvPr>
          <p:cNvSpPr txBox="1"/>
          <p:nvPr/>
        </p:nvSpPr>
        <p:spPr>
          <a:xfrm>
            <a:off x="4588694" y="3433027"/>
            <a:ext cx="2475357" cy="307777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ctr"/>
            <a:r>
              <a:rPr lang="de-DE" sz="1400" b="1" dirty="0" err="1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Centralized</a:t>
            </a:r>
            <a:r>
              <a:rPr lang="de-DE" sz="1400" b="1" dirty="0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 Management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469284EE-C234-2947-8EB9-CB5746302A1E}"/>
              </a:ext>
            </a:extLst>
          </p:cNvPr>
          <p:cNvSpPr txBox="1">
            <a:spLocks/>
          </p:cNvSpPr>
          <p:nvPr/>
        </p:nvSpPr>
        <p:spPr>
          <a:xfrm>
            <a:off x="7366986" y="3739382"/>
            <a:ext cx="2150854" cy="949812"/>
          </a:xfrm>
          <a:prstGeom prst="rect">
            <a:avLst/>
          </a:prstGeom>
        </p:spPr>
        <p:txBody>
          <a:bodyPr vert="horz" wrap="square" lIns="4572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750"/>
              </a:lnSpc>
            </a:pPr>
            <a:r>
              <a:rPr lang="en-US" sz="1200" dirty="0">
                <a:solidFill>
                  <a:schemeClr val="tx1"/>
                </a:solidFill>
                <a:latin typeface="Montserrat Medium" panose="00000600000000000000" pitchFamily="2" charset="0"/>
                <a:ea typeface="Lato Light" panose="020F0502020204030203" pitchFamily="34" charset="0"/>
                <a:cs typeface="Mukta ExtraLight" panose="020B0000000000000000" pitchFamily="34" charset="77"/>
              </a:rPr>
              <a:t>Centralized management helps prevent double bookings and scheduling conflicts.</a:t>
            </a:r>
            <a:endParaRPr lang="de-DE" sz="1200" dirty="0">
              <a:solidFill>
                <a:schemeClr val="tx1"/>
              </a:solidFill>
              <a:latin typeface="Montserrat Medium" panose="00000600000000000000" pitchFamily="2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665AFCA-53BD-5A43-AA43-A452DF6B5BE6}"/>
              </a:ext>
            </a:extLst>
          </p:cNvPr>
          <p:cNvSpPr txBox="1"/>
          <p:nvPr/>
        </p:nvSpPr>
        <p:spPr>
          <a:xfrm>
            <a:off x="7531746" y="3433027"/>
            <a:ext cx="1821332" cy="307777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ctr"/>
            <a:r>
              <a:rPr lang="de-DE" sz="1400" b="1" dirty="0" err="1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Reduced</a:t>
            </a:r>
            <a:r>
              <a:rPr lang="de-DE" sz="1400" b="1" dirty="0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 </a:t>
            </a:r>
            <a:r>
              <a:rPr lang="de-DE" sz="1400" b="1" dirty="0" err="1">
                <a:solidFill>
                  <a:schemeClr val="tx2"/>
                </a:solidFill>
                <a:latin typeface="Montserrat Medium" panose="00000600000000000000" pitchFamily="2" charset="0"/>
                <a:ea typeface="League Spartan" charset="0"/>
                <a:cs typeface="Poppins" pitchFamily="2" charset="77"/>
              </a:rPr>
              <a:t>Conflicts</a:t>
            </a:r>
            <a:endParaRPr lang="de-DE" sz="1400" b="1" dirty="0">
              <a:solidFill>
                <a:schemeClr val="tx2"/>
              </a:solidFill>
              <a:latin typeface="Montserrat Medium" panose="00000600000000000000" pitchFamily="2" charset="0"/>
              <a:ea typeface="League Spartan" charset="0"/>
              <a:cs typeface="Poppins" pitchFamily="2" charset="77"/>
            </a:endParaRP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BDA8013-0A82-4F0D-BB13-43084A8EBE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84CC95D-C1C4-4972-9A06-DD6AA9B30D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nefits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C23860-EFB4-4FF5-AE26-05520F7890A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B63CAE-2CBB-47A6-9FDC-55E3E16A1DDB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667457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73c89a5-de6d-4944-bf40-3b95a03c470b"/>
</p:tagLst>
</file>

<file path=ppt/theme/theme1.xml><?xml version="1.0" encoding="utf-8"?>
<a:theme xmlns:a="http://schemas.openxmlformats.org/drawingml/2006/main" name="Larissa-Design">
  <a:themeElements>
    <a:clrScheme name="ADVISORI">
      <a:dk1>
        <a:srgbClr val="2C2C2C"/>
      </a:dk1>
      <a:lt1>
        <a:srgbClr val="FFFFFF"/>
      </a:lt1>
      <a:dk2>
        <a:srgbClr val="00AA70"/>
      </a:dk2>
      <a:lt2>
        <a:srgbClr val="E4EEF4"/>
      </a:lt2>
      <a:accent1>
        <a:srgbClr val="006F4E"/>
      </a:accent1>
      <a:accent2>
        <a:srgbClr val="991B56"/>
      </a:accent2>
      <a:accent3>
        <a:srgbClr val="227198"/>
      </a:accent3>
      <a:accent4>
        <a:srgbClr val="CEBB0B"/>
      </a:accent4>
      <a:accent5>
        <a:srgbClr val="BAC8D1"/>
      </a:accent5>
      <a:accent6>
        <a:srgbClr val="AFB0B0"/>
      </a:accent6>
      <a:hlink>
        <a:srgbClr val="00AA70"/>
      </a:hlink>
      <a:folHlink>
        <a:srgbClr val="00AA70"/>
      </a:folHlink>
    </a:clrScheme>
    <a:fontScheme name="Advisori">
      <a:majorFont>
        <a:latin typeface="Montserrat Medium"/>
        <a:ea typeface=""/>
        <a:cs typeface=""/>
      </a:majorFont>
      <a:minorFont>
        <a:latin typeface="Montserrat Medium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>
            <a:lumMod val="50000"/>
            <a:alpha val="60000"/>
          </a:schemeClr>
        </a:solidFill>
        <a:ln>
          <a:noFill/>
        </a:ln>
      </a:spPr>
      <a:bodyPr rtlCol="0" anchor="ctr"/>
      <a:lstStyle>
        <a:defPPr algn="ctr">
          <a:defRPr sz="9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DVISORI.pptx" id="{CB97605E-95E2-4E7F-B17F-C337BF30AF8B}" vid="{76BA4592-C1DD-4D5F-AB8B-ACEAD537E3F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81</Words>
  <Application>Microsoft Office PowerPoint</Application>
  <PresentationFormat>Breitbild</PresentationFormat>
  <Paragraphs>155</Paragraphs>
  <Slides>14</Slides>
  <Notes>6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19" baseType="lpstr">
      <vt:lpstr>Wingdings</vt:lpstr>
      <vt:lpstr>Montserrat Medium</vt:lpstr>
      <vt:lpstr>Arial</vt:lpstr>
      <vt:lpstr>Calibri</vt:lpstr>
      <vt:lpstr>Larissa-Design</vt:lpstr>
      <vt:lpstr>Meet Now</vt:lpstr>
      <vt:lpstr>Table of content</vt:lpstr>
      <vt:lpstr>Introduction</vt:lpstr>
      <vt:lpstr>Current Challenges</vt:lpstr>
      <vt:lpstr>Solution</vt:lpstr>
      <vt:lpstr>Technologies Frontend - Angular</vt:lpstr>
      <vt:lpstr>Backend</vt:lpstr>
      <vt:lpstr>Features</vt:lpstr>
      <vt:lpstr>Benefits</vt:lpstr>
      <vt:lpstr>Future Enhancements</vt:lpstr>
      <vt:lpstr>Conclusion</vt:lpstr>
      <vt:lpstr>Learning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Hafiz Muhammad Salman</dc:creator>
  <cp:lastModifiedBy>Hafiz Muhammad Salman</cp:lastModifiedBy>
  <cp:revision>1</cp:revision>
  <cp:lastPrinted>1999-12-31T22:00:00Z</cp:lastPrinted>
  <dcterms:created xsi:type="dcterms:W3CDTF">2024-09-09T15:20:28Z</dcterms:created>
  <dcterms:modified xsi:type="dcterms:W3CDTF">2024-09-19T08:52:33Z</dcterms:modified>
</cp:coreProperties>
</file>